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26.xml" ContentType="application/vnd.openxmlformats-officedocument.presentationml.tags+xml"/>
  <Override PartName="/ppt/notesSlides/notesSlide10.xml" ContentType="application/vnd.openxmlformats-officedocument.presentationml.notesSlide+xml"/>
  <Override PartName="/ppt/tags/tag27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46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1"/>
    <p:sldMasterId id="2147483676" r:id="rId2"/>
  </p:sldMasterIdLst>
  <p:notesMasterIdLst>
    <p:notesMasterId r:id="rId21"/>
  </p:notesMasterIdLst>
  <p:sldIdLst>
    <p:sldId id="257" r:id="rId3"/>
    <p:sldId id="256" r:id="rId4"/>
    <p:sldId id="16609921" r:id="rId5"/>
    <p:sldId id="274" r:id="rId6"/>
    <p:sldId id="5225" r:id="rId7"/>
    <p:sldId id="277" r:id="rId8"/>
    <p:sldId id="343" r:id="rId9"/>
    <p:sldId id="5226" r:id="rId10"/>
    <p:sldId id="5227" r:id="rId11"/>
    <p:sldId id="5228" r:id="rId12"/>
    <p:sldId id="5229" r:id="rId13"/>
    <p:sldId id="293" r:id="rId14"/>
    <p:sldId id="16609920" r:id="rId15"/>
    <p:sldId id="16609922" r:id="rId16"/>
    <p:sldId id="295" r:id="rId17"/>
    <p:sldId id="1435" r:id="rId18"/>
    <p:sldId id="5230" r:id="rId19"/>
    <p:sldId id="341" r:id="rId20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038"/>
    <p:restoredTop sz="85519"/>
  </p:normalViewPr>
  <p:slideViewPr>
    <p:cSldViewPr snapToGrid="0">
      <p:cViewPr varScale="1">
        <p:scale>
          <a:sx n="102" d="100"/>
          <a:sy n="102" d="100"/>
        </p:scale>
        <p:origin x="56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A32E5F1-D34E-4843-BE3A-EFC0F87E1470}" type="doc">
      <dgm:prSet loTypeId="urn:microsoft.com/office/officeart/2005/8/layout/hList1" loCatId="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zh-CN" altLang="en-US"/>
        </a:p>
      </dgm:t>
    </dgm:pt>
    <dgm:pt modelId="{6C74BA30-9456-C74B-B0A5-F2A7730D7C11}">
      <dgm:prSet phldrT="[文本]" custT="1"/>
      <dgm:spPr/>
      <dgm:t>
        <a:bodyPr/>
        <a:lstStyle/>
        <a:p>
          <a:r>
            <a:rPr lang="zh-CN" altLang="en-US" sz="1800" dirty="0">
              <a:latin typeface="Microsoft YaHei" panose="020B0503020204020204" pitchFamily="34" charset="-122"/>
              <a:ea typeface="Microsoft YaHei" panose="020B0503020204020204" pitchFamily="34" charset="-122"/>
            </a:rPr>
            <a:t>基础信息</a:t>
          </a:r>
        </a:p>
      </dgm:t>
    </dgm:pt>
    <dgm:pt modelId="{94D338B8-CDF2-6948-8A74-12AD4BD238B7}" type="parTrans" cxnId="{4DC69533-451B-C14E-8DB3-B081C646298D}">
      <dgm:prSet/>
      <dgm:spPr/>
      <dgm:t>
        <a:bodyPr/>
        <a:lstStyle/>
        <a:p>
          <a:endParaRPr lang="zh-CN" altLang="en-US" sz="18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0426CEEF-94F0-F142-A761-D5653A5F0ADC}" type="sibTrans" cxnId="{4DC69533-451B-C14E-8DB3-B081C646298D}">
      <dgm:prSet/>
      <dgm:spPr/>
      <dgm:t>
        <a:bodyPr/>
        <a:lstStyle/>
        <a:p>
          <a:endParaRPr lang="zh-CN" altLang="en-US" sz="18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348A5834-A02D-1E48-98A3-F1F482B8FD84}">
      <dgm:prSet phldrT="[文本]" custT="1"/>
      <dgm:spPr/>
      <dgm:t>
        <a:bodyPr/>
        <a:lstStyle/>
        <a:p>
          <a:r>
            <a:rPr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姓名：黄文武</a:t>
          </a:r>
        </a:p>
      </dgm:t>
    </dgm:pt>
    <dgm:pt modelId="{9EB3C523-48C4-8341-B95A-A979039A6AF5}" type="parTrans" cxnId="{53C54254-B486-A740-AA35-858AA22B40EB}">
      <dgm:prSet/>
      <dgm:spPr/>
      <dgm:t>
        <a:bodyPr/>
        <a:lstStyle/>
        <a:p>
          <a:endParaRPr lang="zh-CN" altLang="en-US" sz="18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A2C302D0-49BF-D54A-A9F4-AE4B51E33416}" type="sibTrans" cxnId="{53C54254-B486-A740-AA35-858AA22B40EB}">
      <dgm:prSet/>
      <dgm:spPr/>
      <dgm:t>
        <a:bodyPr/>
        <a:lstStyle/>
        <a:p>
          <a:endParaRPr lang="zh-CN" altLang="en-US" sz="18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6839055D-E0A0-B748-8861-87E0F3DB2718}">
      <dgm:prSet phldrT="[文本]" custT="1"/>
      <dgm:spPr/>
      <dgm:t>
        <a:bodyPr/>
        <a:lstStyle/>
        <a:p>
          <a:r>
            <a:rPr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出生年月：</a:t>
          </a:r>
          <a:r>
            <a: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1998.6</a:t>
          </a:r>
          <a:endParaRPr lang="zh-CN" altLang="en-US" sz="16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912B1CFC-E584-604E-992D-8ADE39D235E4}" type="parTrans" cxnId="{17BDA829-5647-3445-B686-D0CD11BDA1B0}">
      <dgm:prSet/>
      <dgm:spPr/>
      <dgm:t>
        <a:bodyPr/>
        <a:lstStyle/>
        <a:p>
          <a:endParaRPr lang="zh-CN" altLang="en-US" sz="18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873D0D0E-FC1C-5E42-AE3C-5F5D9A103DDC}" type="sibTrans" cxnId="{17BDA829-5647-3445-B686-D0CD11BDA1B0}">
      <dgm:prSet/>
      <dgm:spPr/>
      <dgm:t>
        <a:bodyPr/>
        <a:lstStyle/>
        <a:p>
          <a:endParaRPr lang="zh-CN" altLang="en-US" sz="18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9809C251-35A9-2B41-8562-CB50365EB91E}">
      <dgm:prSet phldrT="[文本]" custT="1"/>
      <dgm:spPr/>
      <dgm:t>
        <a:bodyPr/>
        <a:lstStyle/>
        <a:p>
          <a:r>
            <a:rPr lang="zh-CN" altLang="en-US" sz="1800" dirty="0">
              <a:latin typeface="Microsoft YaHei" panose="020B0503020204020204" pitchFamily="34" charset="-122"/>
              <a:ea typeface="Microsoft YaHei" panose="020B0503020204020204" pitchFamily="34" charset="-122"/>
            </a:rPr>
            <a:t>工作经历</a:t>
          </a:r>
        </a:p>
      </dgm:t>
    </dgm:pt>
    <dgm:pt modelId="{8AFA54DF-1657-864E-A3EF-F9E3F2A93BCF}" type="parTrans" cxnId="{E9ADBA46-2746-AA45-ABF9-1F894D7C6EB3}">
      <dgm:prSet/>
      <dgm:spPr/>
      <dgm:t>
        <a:bodyPr/>
        <a:lstStyle/>
        <a:p>
          <a:endParaRPr lang="zh-CN" altLang="en-US" sz="18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043CCCEB-2E95-BE41-AABF-E80B2B0CED0B}" type="sibTrans" cxnId="{E9ADBA46-2746-AA45-ABF9-1F894D7C6EB3}">
      <dgm:prSet/>
      <dgm:spPr/>
      <dgm:t>
        <a:bodyPr/>
        <a:lstStyle/>
        <a:p>
          <a:endParaRPr lang="zh-CN" altLang="en-US" sz="18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90BE99D6-B271-404B-A4AE-5B11B939B464}">
      <dgm:prSet phldrT="[文本]" custT="1"/>
      <dgm:spPr/>
      <dgm:t>
        <a:bodyPr/>
        <a:lstStyle/>
        <a:p>
          <a:r>
            <a:rPr lang="zh-CN" altLang="en-US" sz="1800" dirty="0">
              <a:latin typeface="Microsoft YaHei" panose="020B0503020204020204" pitchFamily="34" charset="-122"/>
              <a:ea typeface="Microsoft YaHei" panose="020B0503020204020204" pitchFamily="34" charset="-122"/>
            </a:rPr>
            <a:t>岗位信息</a:t>
          </a:r>
        </a:p>
      </dgm:t>
    </dgm:pt>
    <dgm:pt modelId="{F0DBA0F8-8DCF-D74B-BFDC-48DC7EF43CC6}" type="parTrans" cxnId="{381B1114-40EF-AE42-81BE-D4B4C118FB29}">
      <dgm:prSet/>
      <dgm:spPr/>
      <dgm:t>
        <a:bodyPr/>
        <a:lstStyle/>
        <a:p>
          <a:endParaRPr lang="zh-CN" altLang="en-US" sz="18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CFCDB1CB-567D-4049-BFE4-BEE3DB88841A}" type="sibTrans" cxnId="{381B1114-40EF-AE42-81BE-D4B4C118FB29}">
      <dgm:prSet/>
      <dgm:spPr/>
      <dgm:t>
        <a:bodyPr/>
        <a:lstStyle/>
        <a:p>
          <a:endParaRPr lang="zh-CN" altLang="en-US" sz="18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1DEF404C-0552-C548-9CE2-6F305CA14722}">
      <dgm:prSet phldrT="[文本]" custT="1"/>
      <dgm:spPr/>
      <dgm:t>
        <a:bodyPr/>
        <a:lstStyle/>
        <a:p>
          <a:r>
            <a:rPr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岗位：业务分析</a:t>
          </a:r>
        </a:p>
      </dgm:t>
    </dgm:pt>
    <dgm:pt modelId="{882128CF-22E1-9841-87EF-4388CEFAF4CB}" type="parTrans" cxnId="{3BE1FEA6-EC14-1A49-9AF9-2F8506F64C56}">
      <dgm:prSet/>
      <dgm:spPr/>
      <dgm:t>
        <a:bodyPr/>
        <a:lstStyle/>
        <a:p>
          <a:endParaRPr lang="zh-CN" altLang="en-US" sz="18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5F7F9877-B5C0-3245-B93D-8B3A35ED739B}" type="sibTrans" cxnId="{3BE1FEA6-EC14-1A49-9AF9-2F8506F64C56}">
      <dgm:prSet/>
      <dgm:spPr/>
      <dgm:t>
        <a:bodyPr/>
        <a:lstStyle/>
        <a:p>
          <a:endParaRPr lang="zh-CN" altLang="en-US" sz="18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0F2D071E-B45B-BD4E-8D2B-A6E6BD95266C}">
      <dgm:prSet phldrT="[文本]" custT="1"/>
      <dgm:spPr/>
      <dgm:t>
        <a:bodyPr/>
        <a:lstStyle/>
        <a:p>
          <a:r>
            <a:rPr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高德：</a:t>
          </a:r>
          <a:r>
            <a: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2025.8.7</a:t>
          </a:r>
          <a:r>
            <a:rPr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～至今</a:t>
          </a:r>
        </a:p>
      </dgm:t>
    </dgm:pt>
    <dgm:pt modelId="{D26941F2-6749-7648-B4B6-1300B2BC7555}" type="sibTrans" cxnId="{B8F11D51-F3B2-9240-8F62-E8D4BAE3984D}">
      <dgm:prSet/>
      <dgm:spPr/>
      <dgm:t>
        <a:bodyPr/>
        <a:lstStyle/>
        <a:p>
          <a:endParaRPr lang="zh-CN" altLang="en-US" sz="18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8C606F2-B043-0441-BCA7-94EBA96DC14B}" type="parTrans" cxnId="{B8F11D51-F3B2-9240-8F62-E8D4BAE3984D}">
      <dgm:prSet/>
      <dgm:spPr/>
      <dgm:t>
        <a:bodyPr/>
        <a:lstStyle/>
        <a:p>
          <a:endParaRPr lang="zh-CN" altLang="en-US" sz="18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2FEB4BB7-BB9E-8243-897F-2D88D5810E37}">
      <dgm:prSet phldrT="[文本]" custT="1"/>
      <dgm:spPr/>
      <dgm:t>
        <a:bodyPr/>
        <a:lstStyle/>
        <a:p>
          <a:r>
            <a: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HRG</a:t>
          </a:r>
          <a:r>
            <a:rPr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：连柏</a:t>
          </a:r>
        </a:p>
      </dgm:t>
    </dgm:pt>
    <dgm:pt modelId="{D3E9CB01-C80A-BB4A-B19C-19E4020F4625}" type="parTrans" cxnId="{F2021A0D-7BFA-C84E-AE34-F5C4F9D4EE00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4A283F1F-D42D-F74F-9D18-EB77F70B5D1D}" type="sibTrans" cxnId="{F2021A0D-7BFA-C84E-AE34-F5C4F9D4EE00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103D1707-A69C-F24E-9C7A-800A8CAA14AC}">
      <dgm:prSet phldrT="[文本]" custT="1"/>
      <dgm:spPr/>
      <dgm:t>
        <a:bodyPr/>
        <a:lstStyle/>
        <a:p>
          <a:r>
            <a:rPr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主管：丝路</a:t>
          </a:r>
        </a:p>
      </dgm:t>
    </dgm:pt>
    <dgm:pt modelId="{B5078F04-5C56-B34A-81A5-FA80D73DE145}" type="parTrans" cxnId="{15BD84D9-14F0-4449-81F8-85364556D1C2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C49BCA64-3D03-0D48-B99F-F6DD93F31C10}" type="sibTrans" cxnId="{15BD84D9-14F0-4449-81F8-85364556D1C2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D471C791-2E6B-3A45-8341-A32DE72DFB86}">
      <dgm:prSet phldrT="[文本]" custT="1"/>
      <dgm:spPr/>
      <dgm:t>
        <a:bodyPr/>
        <a:lstStyle/>
        <a:p>
          <a:r>
            <a:rPr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师姐：孙丽（飘有）</a:t>
          </a:r>
        </a:p>
      </dgm:t>
    </dgm:pt>
    <dgm:pt modelId="{1A5B5161-A1FB-4B49-8317-E74BE5A00FAD}" type="parTrans" cxnId="{5B95017B-0E1B-E943-BDE1-23AECE87F42D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267654AF-8C2E-F246-A5F1-B823EB4F6EB0}" type="sibTrans" cxnId="{5B95017B-0E1B-E943-BDE1-23AECE87F42D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DCB929D-30DA-2A44-A640-86204849DD45}">
      <dgm:prSet phldrT="[文本]" custT="1"/>
      <dgm:spPr/>
      <dgm:t>
        <a:bodyPr/>
        <a:lstStyle/>
        <a:p>
          <a:r>
            <a:rPr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毕业日期：</a:t>
          </a:r>
          <a:r>
            <a: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2022.6</a:t>
          </a:r>
          <a:endParaRPr lang="zh-CN" altLang="en-US" sz="16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EA18AF55-52AD-5F48-A4DC-45917F980583}" type="parTrans" cxnId="{FA18DC1F-EC1C-EA41-A460-D95BEACE2DFA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7D71CFB-9DC3-AC47-8992-2A9F32BCDB8F}" type="sibTrans" cxnId="{FA18DC1F-EC1C-EA41-A460-D95BEACE2DFA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6C473662-DDE1-2E4C-AC2A-FE0693732A18}">
      <dgm:prSet phldrT="[文本]" custT="1"/>
      <dgm:spPr/>
      <dgm:t>
        <a:bodyPr/>
        <a:lstStyle/>
        <a:p>
          <a:r>
            <a:rPr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毕业院校：华中师范大学</a:t>
          </a:r>
        </a:p>
      </dgm:t>
    </dgm:pt>
    <dgm:pt modelId="{F7166622-9F43-8841-8F37-E2EDB805602C}" type="parTrans" cxnId="{E4B075D6-5DF7-7041-B367-46F3910F35B4}">
      <dgm:prSet/>
      <dgm:spPr/>
      <dgm:t>
        <a:bodyPr/>
        <a:lstStyle/>
        <a:p>
          <a:endParaRPr lang="zh-CN" altLang="en-US"/>
        </a:p>
      </dgm:t>
    </dgm:pt>
    <dgm:pt modelId="{260F588A-385A-CE47-98B1-348C56783949}" type="sibTrans" cxnId="{E4B075D6-5DF7-7041-B367-46F3910F35B4}">
      <dgm:prSet/>
      <dgm:spPr/>
      <dgm:t>
        <a:bodyPr/>
        <a:lstStyle/>
        <a:p>
          <a:endParaRPr lang="zh-CN" altLang="en-US"/>
        </a:p>
      </dgm:t>
    </dgm:pt>
    <dgm:pt modelId="{CCF6CDA8-1F22-9746-98D6-20E9D5E24DBF}">
      <dgm:prSet phldrT="[文本]" custT="1"/>
      <dgm:spPr/>
      <dgm:t>
        <a:bodyPr/>
        <a:lstStyle/>
        <a:p>
          <a:r>
            <a:rPr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学历：硕士</a:t>
          </a:r>
        </a:p>
      </dgm:t>
    </dgm:pt>
    <dgm:pt modelId="{18655FB1-5C46-1741-B8F7-C2CE98BF0ABB}" type="parTrans" cxnId="{6101AEFE-6955-354E-9FD8-884FC7798A9F}">
      <dgm:prSet/>
      <dgm:spPr/>
      <dgm:t>
        <a:bodyPr/>
        <a:lstStyle/>
        <a:p>
          <a:endParaRPr lang="zh-CN" altLang="en-US"/>
        </a:p>
      </dgm:t>
    </dgm:pt>
    <dgm:pt modelId="{002B0B1D-0AB8-3D47-8ACD-7889979C66AF}" type="sibTrans" cxnId="{6101AEFE-6955-354E-9FD8-884FC7798A9F}">
      <dgm:prSet/>
      <dgm:spPr/>
      <dgm:t>
        <a:bodyPr/>
        <a:lstStyle/>
        <a:p>
          <a:endParaRPr lang="zh-CN" altLang="en-US"/>
        </a:p>
      </dgm:t>
    </dgm:pt>
    <dgm:pt modelId="{D5D5685E-6420-B34E-B160-192F48138C23}">
      <dgm:prSet phldrT="[文本]" custT="1"/>
      <dgm:spPr/>
      <dgm:t>
        <a:bodyPr/>
        <a:lstStyle/>
        <a:p>
          <a:r>
            <a:rPr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专业：应用统计学</a:t>
          </a:r>
        </a:p>
      </dgm:t>
    </dgm:pt>
    <dgm:pt modelId="{1CBA21E8-75D6-264A-9F52-BC6458ACEEF4}" type="parTrans" cxnId="{0C30C9FF-869B-F742-AA36-B873DA7CBCD2}">
      <dgm:prSet/>
      <dgm:spPr/>
      <dgm:t>
        <a:bodyPr/>
        <a:lstStyle/>
        <a:p>
          <a:endParaRPr lang="zh-CN" altLang="en-US"/>
        </a:p>
      </dgm:t>
    </dgm:pt>
    <dgm:pt modelId="{44A66C6D-7B82-7442-B782-9EFB755DFC90}" type="sibTrans" cxnId="{0C30C9FF-869B-F742-AA36-B873DA7CBCD2}">
      <dgm:prSet/>
      <dgm:spPr/>
      <dgm:t>
        <a:bodyPr/>
        <a:lstStyle/>
        <a:p>
          <a:endParaRPr lang="zh-CN" altLang="en-US"/>
        </a:p>
      </dgm:t>
    </dgm:pt>
    <dgm:pt modelId="{19DCDF9B-17C2-3B43-9054-63EAED27277A}">
      <dgm:prSet phldrT="[文本]" custT="1"/>
      <dgm:spPr/>
      <dgm:t>
        <a:bodyPr/>
        <a:lstStyle/>
        <a:p>
          <a:r>
            <a:rPr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同花顺：</a:t>
          </a:r>
          <a:r>
            <a: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rPr>
            <a:t>2022.7~2025.7</a:t>
          </a:r>
          <a:endParaRPr lang="zh-CN" altLang="en-US" sz="1600" b="1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BB106340-C032-B943-B9B6-CBF71513CEF8}" type="parTrans" cxnId="{45185F24-DF5E-0447-B03A-257FB48C0791}">
      <dgm:prSet/>
      <dgm:spPr/>
      <dgm:t>
        <a:bodyPr/>
        <a:lstStyle/>
        <a:p>
          <a:endParaRPr lang="zh-CN" altLang="en-US"/>
        </a:p>
      </dgm:t>
    </dgm:pt>
    <dgm:pt modelId="{6D1ABBCF-017A-B64F-8ED0-D3D6A693FC56}" type="sibTrans" cxnId="{45185F24-DF5E-0447-B03A-257FB48C0791}">
      <dgm:prSet/>
      <dgm:spPr/>
      <dgm:t>
        <a:bodyPr/>
        <a:lstStyle/>
        <a:p>
          <a:endParaRPr lang="zh-CN" altLang="en-US"/>
        </a:p>
      </dgm:t>
    </dgm:pt>
    <dgm:pt modelId="{8239106E-202D-D441-BF94-787DDB57C0E0}" type="pres">
      <dgm:prSet presAssocID="{2A32E5F1-D34E-4843-BE3A-EFC0F87E1470}" presName="Name0" presStyleCnt="0">
        <dgm:presLayoutVars>
          <dgm:dir/>
          <dgm:animLvl val="lvl"/>
          <dgm:resizeHandles val="exact"/>
        </dgm:presLayoutVars>
      </dgm:prSet>
      <dgm:spPr/>
    </dgm:pt>
    <dgm:pt modelId="{F38D87D3-D1E2-BA4C-AB25-5715612C8108}" type="pres">
      <dgm:prSet presAssocID="{6C74BA30-9456-C74B-B0A5-F2A7730D7C11}" presName="composite" presStyleCnt="0"/>
      <dgm:spPr/>
    </dgm:pt>
    <dgm:pt modelId="{A8E972B2-38B5-1B4C-B810-9CB6AEF5410D}" type="pres">
      <dgm:prSet presAssocID="{6C74BA30-9456-C74B-B0A5-F2A7730D7C11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C1E1C797-9148-BD42-9121-6DFB1DCD67F6}" type="pres">
      <dgm:prSet presAssocID="{6C74BA30-9456-C74B-B0A5-F2A7730D7C11}" presName="desTx" presStyleLbl="alignAccFollowNode1" presStyleIdx="0" presStyleCnt="3">
        <dgm:presLayoutVars>
          <dgm:bulletEnabled val="1"/>
        </dgm:presLayoutVars>
      </dgm:prSet>
      <dgm:spPr/>
    </dgm:pt>
    <dgm:pt modelId="{189ABD21-EFE4-D445-B2F0-D7249807322D}" type="pres">
      <dgm:prSet presAssocID="{0426CEEF-94F0-F142-A761-D5653A5F0ADC}" presName="space" presStyleCnt="0"/>
      <dgm:spPr/>
    </dgm:pt>
    <dgm:pt modelId="{FEC7A81F-154F-504D-B0F3-ECE1F6ABD582}" type="pres">
      <dgm:prSet presAssocID="{9809C251-35A9-2B41-8562-CB50365EB91E}" presName="composite" presStyleCnt="0"/>
      <dgm:spPr/>
    </dgm:pt>
    <dgm:pt modelId="{C3089EA7-D3B8-9141-BA26-728509315360}" type="pres">
      <dgm:prSet presAssocID="{9809C251-35A9-2B41-8562-CB50365EB91E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783FBF5C-132F-9143-889A-45C9E1FE7725}" type="pres">
      <dgm:prSet presAssocID="{9809C251-35A9-2B41-8562-CB50365EB91E}" presName="desTx" presStyleLbl="alignAccFollowNode1" presStyleIdx="1" presStyleCnt="3">
        <dgm:presLayoutVars>
          <dgm:bulletEnabled val="1"/>
        </dgm:presLayoutVars>
      </dgm:prSet>
      <dgm:spPr/>
    </dgm:pt>
    <dgm:pt modelId="{BD1EB707-1CFD-8C4B-9623-A886AD09F0D6}" type="pres">
      <dgm:prSet presAssocID="{043CCCEB-2E95-BE41-AABF-E80B2B0CED0B}" presName="space" presStyleCnt="0"/>
      <dgm:spPr/>
    </dgm:pt>
    <dgm:pt modelId="{E814BD30-8113-9346-9B6B-2824C5899DB4}" type="pres">
      <dgm:prSet presAssocID="{90BE99D6-B271-404B-A4AE-5B11B939B464}" presName="composite" presStyleCnt="0"/>
      <dgm:spPr/>
    </dgm:pt>
    <dgm:pt modelId="{CEBD3DFB-31B3-4A49-A53B-679B13C3CD53}" type="pres">
      <dgm:prSet presAssocID="{90BE99D6-B271-404B-A4AE-5B11B939B464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97C71A1D-0B97-9147-9AB2-121C8C957688}" type="pres">
      <dgm:prSet presAssocID="{90BE99D6-B271-404B-A4AE-5B11B939B464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F2021A0D-7BFA-C84E-AE34-F5C4F9D4EE00}" srcId="{90BE99D6-B271-404B-A4AE-5B11B939B464}" destId="{2FEB4BB7-BB9E-8243-897F-2D88D5810E37}" srcOrd="1" destOrd="0" parTransId="{D3E9CB01-C80A-BB4A-B19C-19E4020F4625}" sibTransId="{4A283F1F-D42D-F74F-9D18-EB77F70B5D1D}"/>
    <dgm:cxn modelId="{AD6E7710-E07A-A949-AA44-03BD4F76BFA4}" type="presOf" srcId="{6839055D-E0A0-B748-8861-87E0F3DB2718}" destId="{C1E1C797-9148-BD42-9121-6DFB1DCD67F6}" srcOrd="0" destOrd="1" presId="urn:microsoft.com/office/officeart/2005/8/layout/hList1"/>
    <dgm:cxn modelId="{381B1114-40EF-AE42-81BE-D4B4C118FB29}" srcId="{2A32E5F1-D34E-4843-BE3A-EFC0F87E1470}" destId="{90BE99D6-B271-404B-A4AE-5B11B939B464}" srcOrd="2" destOrd="0" parTransId="{F0DBA0F8-8DCF-D74B-BFDC-48DC7EF43CC6}" sibTransId="{CFCDB1CB-567D-4049-BFE4-BEE3DB88841A}"/>
    <dgm:cxn modelId="{5F62441B-6246-D242-BA41-958D61EAAA3D}" type="presOf" srcId="{6C473662-DDE1-2E4C-AC2A-FE0693732A18}" destId="{C1E1C797-9148-BD42-9121-6DFB1DCD67F6}" srcOrd="0" destOrd="3" presId="urn:microsoft.com/office/officeart/2005/8/layout/hList1"/>
    <dgm:cxn modelId="{FA18DC1F-EC1C-EA41-A460-D95BEACE2DFA}" srcId="{6C74BA30-9456-C74B-B0A5-F2A7730D7C11}" destId="{7DCB929D-30DA-2A44-A640-86204849DD45}" srcOrd="2" destOrd="0" parTransId="{EA18AF55-52AD-5F48-A4DC-45917F980583}" sibTransId="{77D71CFB-9DC3-AC47-8992-2A9F32BCDB8F}"/>
    <dgm:cxn modelId="{45185F24-DF5E-0447-B03A-257FB48C0791}" srcId="{9809C251-35A9-2B41-8562-CB50365EB91E}" destId="{19DCDF9B-17C2-3B43-9054-63EAED27277A}" srcOrd="0" destOrd="0" parTransId="{BB106340-C032-B943-B9B6-CBF71513CEF8}" sibTransId="{6D1ABBCF-017A-B64F-8ED0-D3D6A693FC56}"/>
    <dgm:cxn modelId="{17BDA829-5647-3445-B686-D0CD11BDA1B0}" srcId="{6C74BA30-9456-C74B-B0A5-F2A7730D7C11}" destId="{6839055D-E0A0-B748-8861-87E0F3DB2718}" srcOrd="1" destOrd="0" parTransId="{912B1CFC-E584-604E-992D-8ADE39D235E4}" sibTransId="{873D0D0E-FC1C-5E42-AE3C-5F5D9A103DDC}"/>
    <dgm:cxn modelId="{4DC69533-451B-C14E-8DB3-B081C646298D}" srcId="{2A32E5F1-D34E-4843-BE3A-EFC0F87E1470}" destId="{6C74BA30-9456-C74B-B0A5-F2A7730D7C11}" srcOrd="0" destOrd="0" parTransId="{94D338B8-CDF2-6948-8A74-12AD4BD238B7}" sibTransId="{0426CEEF-94F0-F142-A761-D5653A5F0ADC}"/>
    <dgm:cxn modelId="{9E723635-029A-EE49-BCCB-EBE78CBF8BF4}" type="presOf" srcId="{7DCB929D-30DA-2A44-A640-86204849DD45}" destId="{C1E1C797-9148-BD42-9121-6DFB1DCD67F6}" srcOrd="0" destOrd="2" presId="urn:microsoft.com/office/officeart/2005/8/layout/hList1"/>
    <dgm:cxn modelId="{69546135-5132-4A4B-9541-C9F05F423FDB}" type="presOf" srcId="{D5D5685E-6420-B34E-B160-192F48138C23}" destId="{C1E1C797-9148-BD42-9121-6DFB1DCD67F6}" srcOrd="0" destOrd="4" presId="urn:microsoft.com/office/officeart/2005/8/layout/hList1"/>
    <dgm:cxn modelId="{8935B636-516E-E144-9740-655FA94775F7}" type="presOf" srcId="{2A32E5F1-D34E-4843-BE3A-EFC0F87E1470}" destId="{8239106E-202D-D441-BF94-787DDB57C0E0}" srcOrd="0" destOrd="0" presId="urn:microsoft.com/office/officeart/2005/8/layout/hList1"/>
    <dgm:cxn modelId="{E9ADBA46-2746-AA45-ABF9-1F894D7C6EB3}" srcId="{2A32E5F1-D34E-4843-BE3A-EFC0F87E1470}" destId="{9809C251-35A9-2B41-8562-CB50365EB91E}" srcOrd="1" destOrd="0" parTransId="{8AFA54DF-1657-864E-A3EF-F9E3F2A93BCF}" sibTransId="{043CCCEB-2E95-BE41-AABF-E80B2B0CED0B}"/>
    <dgm:cxn modelId="{2B06084F-F8F0-D847-A545-36A55356BA59}" type="presOf" srcId="{103D1707-A69C-F24E-9C7A-800A8CAA14AC}" destId="{97C71A1D-0B97-9147-9AB2-121C8C957688}" srcOrd="0" destOrd="2" presId="urn:microsoft.com/office/officeart/2005/8/layout/hList1"/>
    <dgm:cxn modelId="{B8F11D51-F3B2-9240-8F62-E8D4BAE3984D}" srcId="{9809C251-35A9-2B41-8562-CB50365EB91E}" destId="{0F2D071E-B45B-BD4E-8D2B-A6E6BD95266C}" srcOrd="1" destOrd="0" parTransId="{78C606F2-B043-0441-BCA7-94EBA96DC14B}" sibTransId="{D26941F2-6749-7648-B4B6-1300B2BC7555}"/>
    <dgm:cxn modelId="{13DB2D52-39D7-7345-AB1B-E3DC35764761}" type="presOf" srcId="{19DCDF9B-17C2-3B43-9054-63EAED27277A}" destId="{783FBF5C-132F-9143-889A-45C9E1FE7725}" srcOrd="0" destOrd="0" presId="urn:microsoft.com/office/officeart/2005/8/layout/hList1"/>
    <dgm:cxn modelId="{53C54254-B486-A740-AA35-858AA22B40EB}" srcId="{6C74BA30-9456-C74B-B0A5-F2A7730D7C11}" destId="{348A5834-A02D-1E48-98A3-F1F482B8FD84}" srcOrd="0" destOrd="0" parTransId="{9EB3C523-48C4-8341-B95A-A979039A6AF5}" sibTransId="{A2C302D0-49BF-D54A-A9F4-AE4B51E33416}"/>
    <dgm:cxn modelId="{48F70E5F-FC28-5242-B622-148649CC1E1E}" type="presOf" srcId="{6C74BA30-9456-C74B-B0A5-F2A7730D7C11}" destId="{A8E972B2-38B5-1B4C-B810-9CB6AEF5410D}" srcOrd="0" destOrd="0" presId="urn:microsoft.com/office/officeart/2005/8/layout/hList1"/>
    <dgm:cxn modelId="{2556F662-E373-7F49-BC19-A5746B29BCAC}" type="presOf" srcId="{9809C251-35A9-2B41-8562-CB50365EB91E}" destId="{C3089EA7-D3B8-9141-BA26-728509315360}" srcOrd="0" destOrd="0" presId="urn:microsoft.com/office/officeart/2005/8/layout/hList1"/>
    <dgm:cxn modelId="{2B68106F-1BA1-B64F-A28B-CFEFAB6B3464}" type="presOf" srcId="{2FEB4BB7-BB9E-8243-897F-2D88D5810E37}" destId="{97C71A1D-0B97-9147-9AB2-121C8C957688}" srcOrd="0" destOrd="1" presId="urn:microsoft.com/office/officeart/2005/8/layout/hList1"/>
    <dgm:cxn modelId="{5B95017B-0E1B-E943-BDE1-23AECE87F42D}" srcId="{90BE99D6-B271-404B-A4AE-5B11B939B464}" destId="{D471C791-2E6B-3A45-8341-A32DE72DFB86}" srcOrd="3" destOrd="0" parTransId="{1A5B5161-A1FB-4B49-8317-E74BE5A00FAD}" sibTransId="{267654AF-8C2E-F246-A5F1-B823EB4F6EB0}"/>
    <dgm:cxn modelId="{3BE1FEA6-EC14-1A49-9AF9-2F8506F64C56}" srcId="{90BE99D6-B271-404B-A4AE-5B11B939B464}" destId="{1DEF404C-0552-C548-9CE2-6F305CA14722}" srcOrd="0" destOrd="0" parTransId="{882128CF-22E1-9841-87EF-4388CEFAF4CB}" sibTransId="{5F7F9877-B5C0-3245-B93D-8B3A35ED739B}"/>
    <dgm:cxn modelId="{361487C0-D286-7548-B550-7AFA4A10378F}" type="presOf" srcId="{D471C791-2E6B-3A45-8341-A32DE72DFB86}" destId="{97C71A1D-0B97-9147-9AB2-121C8C957688}" srcOrd="0" destOrd="3" presId="urn:microsoft.com/office/officeart/2005/8/layout/hList1"/>
    <dgm:cxn modelId="{888D0FC7-488B-944D-9F41-44CB3D5B2A1B}" type="presOf" srcId="{0F2D071E-B45B-BD4E-8D2B-A6E6BD95266C}" destId="{783FBF5C-132F-9143-889A-45C9E1FE7725}" srcOrd="0" destOrd="1" presId="urn:microsoft.com/office/officeart/2005/8/layout/hList1"/>
    <dgm:cxn modelId="{644A90CD-88D7-3F4D-9522-9419827D7B82}" type="presOf" srcId="{1DEF404C-0552-C548-9CE2-6F305CA14722}" destId="{97C71A1D-0B97-9147-9AB2-121C8C957688}" srcOrd="0" destOrd="0" presId="urn:microsoft.com/office/officeart/2005/8/layout/hList1"/>
    <dgm:cxn modelId="{2CDF71D3-F5B3-4249-BC66-C0D4847966C4}" type="presOf" srcId="{CCF6CDA8-1F22-9746-98D6-20E9D5E24DBF}" destId="{C1E1C797-9148-BD42-9121-6DFB1DCD67F6}" srcOrd="0" destOrd="5" presId="urn:microsoft.com/office/officeart/2005/8/layout/hList1"/>
    <dgm:cxn modelId="{606217D4-F9EC-8E42-8D3E-BDC7FA97AB25}" type="presOf" srcId="{348A5834-A02D-1E48-98A3-F1F482B8FD84}" destId="{C1E1C797-9148-BD42-9121-6DFB1DCD67F6}" srcOrd="0" destOrd="0" presId="urn:microsoft.com/office/officeart/2005/8/layout/hList1"/>
    <dgm:cxn modelId="{E4B075D6-5DF7-7041-B367-46F3910F35B4}" srcId="{6C74BA30-9456-C74B-B0A5-F2A7730D7C11}" destId="{6C473662-DDE1-2E4C-AC2A-FE0693732A18}" srcOrd="3" destOrd="0" parTransId="{F7166622-9F43-8841-8F37-E2EDB805602C}" sibTransId="{260F588A-385A-CE47-98B1-348C56783949}"/>
    <dgm:cxn modelId="{15BD84D9-14F0-4449-81F8-85364556D1C2}" srcId="{90BE99D6-B271-404B-A4AE-5B11B939B464}" destId="{103D1707-A69C-F24E-9C7A-800A8CAA14AC}" srcOrd="2" destOrd="0" parTransId="{B5078F04-5C56-B34A-81A5-FA80D73DE145}" sibTransId="{C49BCA64-3D03-0D48-B99F-F6DD93F31C10}"/>
    <dgm:cxn modelId="{C8DBCFE3-512B-F04A-998A-8E22FEA4D3FC}" type="presOf" srcId="{90BE99D6-B271-404B-A4AE-5B11B939B464}" destId="{CEBD3DFB-31B3-4A49-A53B-679B13C3CD53}" srcOrd="0" destOrd="0" presId="urn:microsoft.com/office/officeart/2005/8/layout/hList1"/>
    <dgm:cxn modelId="{6101AEFE-6955-354E-9FD8-884FC7798A9F}" srcId="{6C74BA30-9456-C74B-B0A5-F2A7730D7C11}" destId="{CCF6CDA8-1F22-9746-98D6-20E9D5E24DBF}" srcOrd="5" destOrd="0" parTransId="{18655FB1-5C46-1741-B8F7-C2CE98BF0ABB}" sibTransId="{002B0B1D-0AB8-3D47-8ACD-7889979C66AF}"/>
    <dgm:cxn modelId="{0C30C9FF-869B-F742-AA36-B873DA7CBCD2}" srcId="{6C74BA30-9456-C74B-B0A5-F2A7730D7C11}" destId="{D5D5685E-6420-B34E-B160-192F48138C23}" srcOrd="4" destOrd="0" parTransId="{1CBA21E8-75D6-264A-9F52-BC6458ACEEF4}" sibTransId="{44A66C6D-7B82-7442-B782-9EFB755DFC90}"/>
    <dgm:cxn modelId="{78E84CF3-F7DA-F54D-B82B-C88CB7F35045}" type="presParOf" srcId="{8239106E-202D-D441-BF94-787DDB57C0E0}" destId="{F38D87D3-D1E2-BA4C-AB25-5715612C8108}" srcOrd="0" destOrd="0" presId="urn:microsoft.com/office/officeart/2005/8/layout/hList1"/>
    <dgm:cxn modelId="{277F7339-2109-0B4D-A247-4819389FA2FB}" type="presParOf" srcId="{F38D87D3-D1E2-BA4C-AB25-5715612C8108}" destId="{A8E972B2-38B5-1B4C-B810-9CB6AEF5410D}" srcOrd="0" destOrd="0" presId="urn:microsoft.com/office/officeart/2005/8/layout/hList1"/>
    <dgm:cxn modelId="{0D031303-6971-EE4E-AEC2-61291A2F7E39}" type="presParOf" srcId="{F38D87D3-D1E2-BA4C-AB25-5715612C8108}" destId="{C1E1C797-9148-BD42-9121-6DFB1DCD67F6}" srcOrd="1" destOrd="0" presId="urn:microsoft.com/office/officeart/2005/8/layout/hList1"/>
    <dgm:cxn modelId="{905A2878-F927-E941-AAFF-531EBFD36BEB}" type="presParOf" srcId="{8239106E-202D-D441-BF94-787DDB57C0E0}" destId="{189ABD21-EFE4-D445-B2F0-D7249807322D}" srcOrd="1" destOrd="0" presId="urn:microsoft.com/office/officeart/2005/8/layout/hList1"/>
    <dgm:cxn modelId="{68DB4DCC-8698-994C-A31D-E0CABDFBA321}" type="presParOf" srcId="{8239106E-202D-D441-BF94-787DDB57C0E0}" destId="{FEC7A81F-154F-504D-B0F3-ECE1F6ABD582}" srcOrd="2" destOrd="0" presId="urn:microsoft.com/office/officeart/2005/8/layout/hList1"/>
    <dgm:cxn modelId="{17CFD22B-6204-1C4E-B185-C3F3BC0A3E8E}" type="presParOf" srcId="{FEC7A81F-154F-504D-B0F3-ECE1F6ABD582}" destId="{C3089EA7-D3B8-9141-BA26-728509315360}" srcOrd="0" destOrd="0" presId="urn:microsoft.com/office/officeart/2005/8/layout/hList1"/>
    <dgm:cxn modelId="{B153BF64-6F49-1545-8F68-7CF1EBBFF1DE}" type="presParOf" srcId="{FEC7A81F-154F-504D-B0F3-ECE1F6ABD582}" destId="{783FBF5C-132F-9143-889A-45C9E1FE7725}" srcOrd="1" destOrd="0" presId="urn:microsoft.com/office/officeart/2005/8/layout/hList1"/>
    <dgm:cxn modelId="{B720FC0C-4CA1-B341-9E10-4CB6C5D16E41}" type="presParOf" srcId="{8239106E-202D-D441-BF94-787DDB57C0E0}" destId="{BD1EB707-1CFD-8C4B-9623-A886AD09F0D6}" srcOrd="3" destOrd="0" presId="urn:microsoft.com/office/officeart/2005/8/layout/hList1"/>
    <dgm:cxn modelId="{8D924FBF-231F-3D48-944F-E64277456C88}" type="presParOf" srcId="{8239106E-202D-D441-BF94-787DDB57C0E0}" destId="{E814BD30-8113-9346-9B6B-2824C5899DB4}" srcOrd="4" destOrd="0" presId="urn:microsoft.com/office/officeart/2005/8/layout/hList1"/>
    <dgm:cxn modelId="{4760541D-FD81-4843-AC57-B05B9B890F92}" type="presParOf" srcId="{E814BD30-8113-9346-9B6B-2824C5899DB4}" destId="{CEBD3DFB-31B3-4A49-A53B-679B13C3CD53}" srcOrd="0" destOrd="0" presId="urn:microsoft.com/office/officeart/2005/8/layout/hList1"/>
    <dgm:cxn modelId="{E71884C1-1EDD-C341-8517-04AB6B319254}" type="presParOf" srcId="{E814BD30-8113-9346-9B6B-2824C5899DB4}" destId="{97C71A1D-0B97-9147-9AB2-121C8C95768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56F6E6A-A517-4E9C-8954-2076F27AA9EE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B1B45BF1-DC55-40A7-ADAF-0C723B5FD6C5}">
      <dgm:prSet phldrT="[文本]"/>
      <dgm:spPr>
        <a:solidFill>
          <a:schemeClr val="accent5"/>
        </a:solidFill>
      </dgm:spPr>
      <dgm:t>
        <a:bodyPr/>
        <a:lstStyle/>
        <a:p>
          <a:r>
            <a:rPr lang="en-US" altLang="zh-CN" b="1" dirty="0"/>
            <a:t>9</a:t>
          </a:r>
          <a:r>
            <a:rPr lang="zh-CN" altLang="en-US" b="1" dirty="0"/>
            <a:t>月（入职</a:t>
          </a:r>
          <a:r>
            <a:rPr lang="en-US" altLang="zh-CN" b="1" dirty="0"/>
            <a:t>2</a:t>
          </a:r>
          <a:r>
            <a:rPr lang="zh-CN" altLang="en-US" b="1" dirty="0"/>
            <a:t>月）</a:t>
          </a:r>
        </a:p>
      </dgm:t>
    </dgm:pt>
    <dgm:pt modelId="{081E8431-31F8-455E-BCEE-8412BBC5F470}" type="parTrans" cxnId="{73E9EE48-9160-4B9B-99E9-2C1A9D96039F}">
      <dgm:prSet/>
      <dgm:spPr/>
      <dgm:t>
        <a:bodyPr/>
        <a:lstStyle/>
        <a:p>
          <a:endParaRPr lang="zh-CN" altLang="en-US"/>
        </a:p>
      </dgm:t>
    </dgm:pt>
    <dgm:pt modelId="{63C33DA1-05CD-42B7-87ED-C88EA54AC5E6}" type="sibTrans" cxnId="{73E9EE48-9160-4B9B-99E9-2C1A9D96039F}">
      <dgm:prSet/>
      <dgm:spPr/>
      <dgm:t>
        <a:bodyPr/>
        <a:lstStyle/>
        <a:p>
          <a:endParaRPr lang="zh-CN" altLang="en-US"/>
        </a:p>
      </dgm:t>
    </dgm:pt>
    <dgm:pt modelId="{B4D94E7D-4C68-4B36-B6D6-8DF91577A2D3}">
      <dgm:prSet phldrT="[文本]"/>
      <dgm:spPr>
        <a:solidFill>
          <a:schemeClr val="accent5"/>
        </a:solidFill>
      </dgm:spPr>
      <dgm:t>
        <a:bodyPr/>
        <a:lstStyle/>
        <a:p>
          <a:r>
            <a:rPr lang="en-US" altLang="zh-CN" b="1" dirty="0"/>
            <a:t>10</a:t>
          </a:r>
          <a:r>
            <a:rPr lang="zh-CN" altLang="en-US" b="1" dirty="0"/>
            <a:t>月</a:t>
          </a:r>
          <a:r>
            <a:rPr lang="en-US" altLang="zh-CN" b="1" dirty="0"/>
            <a:t>-</a:t>
          </a:r>
          <a:r>
            <a:rPr lang="zh-CN" altLang="en-US" b="1" dirty="0"/>
            <a:t>至今（入职</a:t>
          </a:r>
          <a:r>
            <a:rPr lang="en-US" altLang="zh-CN" b="1" dirty="0"/>
            <a:t>3</a:t>
          </a:r>
          <a:r>
            <a:rPr lang="zh-CN" altLang="en-US" b="1" dirty="0"/>
            <a:t>月</a:t>
          </a:r>
          <a:r>
            <a:rPr lang="en-US" altLang="zh-CN" b="1" dirty="0"/>
            <a:t>+</a:t>
          </a:r>
          <a:r>
            <a:rPr lang="zh-CN" altLang="en-US" b="1" dirty="0"/>
            <a:t>）</a:t>
          </a:r>
        </a:p>
      </dgm:t>
    </dgm:pt>
    <dgm:pt modelId="{B37F38B8-7E89-4F6B-8834-D4A7926A688D}" type="parTrans" cxnId="{A26D55BF-B4CC-4B0D-814D-44E8DB160269}">
      <dgm:prSet/>
      <dgm:spPr/>
      <dgm:t>
        <a:bodyPr/>
        <a:lstStyle/>
        <a:p>
          <a:endParaRPr lang="zh-CN" altLang="en-US"/>
        </a:p>
      </dgm:t>
    </dgm:pt>
    <dgm:pt modelId="{8072FE16-57E4-47DF-B9F2-C3E8C14395EB}" type="sibTrans" cxnId="{A26D55BF-B4CC-4B0D-814D-44E8DB160269}">
      <dgm:prSet/>
      <dgm:spPr/>
      <dgm:t>
        <a:bodyPr/>
        <a:lstStyle/>
        <a:p>
          <a:endParaRPr lang="zh-CN" altLang="en-US"/>
        </a:p>
      </dgm:t>
    </dgm:pt>
    <dgm:pt modelId="{1D472B3F-10A2-4F0F-A31A-E5494B0501D9}">
      <dgm:prSet phldrT="[文本]"/>
      <dgm:spPr>
        <a:solidFill>
          <a:schemeClr val="accent5"/>
        </a:solidFill>
        <a:ln>
          <a:solidFill>
            <a:schemeClr val="accent5"/>
          </a:solidFill>
        </a:ln>
      </dgm:spPr>
      <dgm:t>
        <a:bodyPr/>
        <a:lstStyle/>
        <a:p>
          <a:r>
            <a:rPr lang="en-US" altLang="zh-CN" b="1" dirty="0"/>
            <a:t>8</a:t>
          </a:r>
          <a:r>
            <a:rPr lang="zh-CN" altLang="en-US" b="1" dirty="0"/>
            <a:t>月（入职</a:t>
          </a:r>
          <a:r>
            <a:rPr lang="en-US" altLang="zh-CN" b="1" dirty="0"/>
            <a:t>1</a:t>
          </a:r>
          <a:r>
            <a:rPr lang="zh-CN" altLang="en-US" b="1" dirty="0"/>
            <a:t>月）</a:t>
          </a:r>
        </a:p>
      </dgm:t>
    </dgm:pt>
    <dgm:pt modelId="{382DA0F1-90FB-4696-B5C2-255A18216063}" type="sibTrans" cxnId="{44C612F1-2A28-4DFC-B92C-132E2F6B530E}">
      <dgm:prSet/>
      <dgm:spPr/>
      <dgm:t>
        <a:bodyPr/>
        <a:lstStyle/>
        <a:p>
          <a:endParaRPr lang="zh-CN" altLang="en-US"/>
        </a:p>
      </dgm:t>
    </dgm:pt>
    <dgm:pt modelId="{CD4EBAB4-B0E5-4608-94C5-0207DC929EAF}" type="parTrans" cxnId="{44C612F1-2A28-4DFC-B92C-132E2F6B530E}">
      <dgm:prSet/>
      <dgm:spPr/>
      <dgm:t>
        <a:bodyPr/>
        <a:lstStyle/>
        <a:p>
          <a:endParaRPr lang="zh-CN" altLang="en-US"/>
        </a:p>
      </dgm:t>
    </dgm:pt>
    <dgm:pt modelId="{36547A1C-53A4-426D-9913-EB3EA9FBEEBF}" type="pres">
      <dgm:prSet presAssocID="{E56F6E6A-A517-4E9C-8954-2076F27AA9EE}" presName="Name0" presStyleCnt="0">
        <dgm:presLayoutVars>
          <dgm:dir/>
          <dgm:resizeHandles val="exact"/>
        </dgm:presLayoutVars>
      </dgm:prSet>
      <dgm:spPr/>
    </dgm:pt>
    <dgm:pt modelId="{E2CC4CE9-FDCA-4B4D-BC18-1D01A78C9965}" type="pres">
      <dgm:prSet presAssocID="{1D472B3F-10A2-4F0F-A31A-E5494B0501D9}" presName="parTxOnly" presStyleLbl="node1" presStyleIdx="0" presStyleCnt="3" custLinFactNeighborX="-53409">
        <dgm:presLayoutVars>
          <dgm:bulletEnabled val="1"/>
        </dgm:presLayoutVars>
      </dgm:prSet>
      <dgm:spPr/>
    </dgm:pt>
    <dgm:pt modelId="{61E05913-82E7-4C06-849B-0899455D91DE}" type="pres">
      <dgm:prSet presAssocID="{382DA0F1-90FB-4696-B5C2-255A18216063}" presName="parSpace" presStyleCnt="0"/>
      <dgm:spPr/>
    </dgm:pt>
    <dgm:pt modelId="{8A4B99B1-3786-4699-BCF3-F66297C48EF1}" type="pres">
      <dgm:prSet presAssocID="{B1B45BF1-DC55-40A7-ADAF-0C723B5FD6C5}" presName="parTxOnly" presStyleLbl="node1" presStyleIdx="1" presStyleCnt="3" custScaleX="100456">
        <dgm:presLayoutVars>
          <dgm:bulletEnabled val="1"/>
        </dgm:presLayoutVars>
      </dgm:prSet>
      <dgm:spPr/>
    </dgm:pt>
    <dgm:pt modelId="{B1E237C3-A7A2-4148-8349-F3BFD5C753E9}" type="pres">
      <dgm:prSet presAssocID="{63C33DA1-05CD-42B7-87ED-C88EA54AC5E6}" presName="parSpace" presStyleCnt="0"/>
      <dgm:spPr/>
    </dgm:pt>
    <dgm:pt modelId="{2907A934-0BCE-4251-8DEE-98A2FE007A81}" type="pres">
      <dgm:prSet presAssocID="{B4D94E7D-4C68-4B36-B6D6-8DF91577A2D3}" presName="parTxOnly" presStyleLbl="node1" presStyleIdx="2" presStyleCnt="3">
        <dgm:presLayoutVars>
          <dgm:bulletEnabled val="1"/>
        </dgm:presLayoutVars>
      </dgm:prSet>
      <dgm:spPr/>
    </dgm:pt>
  </dgm:ptLst>
  <dgm:cxnLst>
    <dgm:cxn modelId="{E0B59B16-883B-484F-A2D5-B118BD3E71D7}" type="presOf" srcId="{1D472B3F-10A2-4F0F-A31A-E5494B0501D9}" destId="{E2CC4CE9-FDCA-4B4D-BC18-1D01A78C9965}" srcOrd="0" destOrd="0" presId="urn:microsoft.com/office/officeart/2005/8/layout/hChevron3"/>
    <dgm:cxn modelId="{99E3D948-3E15-4794-8AC6-54958611840E}" type="presOf" srcId="{E56F6E6A-A517-4E9C-8954-2076F27AA9EE}" destId="{36547A1C-53A4-426D-9913-EB3EA9FBEEBF}" srcOrd="0" destOrd="0" presId="urn:microsoft.com/office/officeart/2005/8/layout/hChevron3"/>
    <dgm:cxn modelId="{73E9EE48-9160-4B9B-99E9-2C1A9D96039F}" srcId="{E56F6E6A-A517-4E9C-8954-2076F27AA9EE}" destId="{B1B45BF1-DC55-40A7-ADAF-0C723B5FD6C5}" srcOrd="1" destOrd="0" parTransId="{081E8431-31F8-455E-BCEE-8412BBC5F470}" sibTransId="{63C33DA1-05CD-42B7-87ED-C88EA54AC5E6}"/>
    <dgm:cxn modelId="{28294955-3DA6-418B-B516-18184B8AD7BE}" type="presOf" srcId="{B4D94E7D-4C68-4B36-B6D6-8DF91577A2D3}" destId="{2907A934-0BCE-4251-8DEE-98A2FE007A81}" srcOrd="0" destOrd="0" presId="urn:microsoft.com/office/officeart/2005/8/layout/hChevron3"/>
    <dgm:cxn modelId="{A26D55BF-B4CC-4B0D-814D-44E8DB160269}" srcId="{E56F6E6A-A517-4E9C-8954-2076F27AA9EE}" destId="{B4D94E7D-4C68-4B36-B6D6-8DF91577A2D3}" srcOrd="2" destOrd="0" parTransId="{B37F38B8-7E89-4F6B-8834-D4A7926A688D}" sibTransId="{8072FE16-57E4-47DF-B9F2-C3E8C14395EB}"/>
    <dgm:cxn modelId="{44C612F1-2A28-4DFC-B92C-132E2F6B530E}" srcId="{E56F6E6A-A517-4E9C-8954-2076F27AA9EE}" destId="{1D472B3F-10A2-4F0F-A31A-E5494B0501D9}" srcOrd="0" destOrd="0" parTransId="{CD4EBAB4-B0E5-4608-94C5-0207DC929EAF}" sibTransId="{382DA0F1-90FB-4696-B5C2-255A18216063}"/>
    <dgm:cxn modelId="{7AA0DAF3-DFA6-4084-A307-488F2C105A16}" type="presOf" srcId="{B1B45BF1-DC55-40A7-ADAF-0C723B5FD6C5}" destId="{8A4B99B1-3786-4699-BCF3-F66297C48EF1}" srcOrd="0" destOrd="0" presId="urn:microsoft.com/office/officeart/2005/8/layout/hChevron3"/>
    <dgm:cxn modelId="{F2C32B09-753B-4DAE-ADB4-531B8C5BDF87}" type="presParOf" srcId="{36547A1C-53A4-426D-9913-EB3EA9FBEEBF}" destId="{E2CC4CE9-FDCA-4B4D-BC18-1D01A78C9965}" srcOrd="0" destOrd="0" presId="urn:microsoft.com/office/officeart/2005/8/layout/hChevron3"/>
    <dgm:cxn modelId="{7E100B04-9DA6-4248-8FEE-E99A765CB564}" type="presParOf" srcId="{36547A1C-53A4-426D-9913-EB3EA9FBEEBF}" destId="{61E05913-82E7-4C06-849B-0899455D91DE}" srcOrd="1" destOrd="0" presId="urn:microsoft.com/office/officeart/2005/8/layout/hChevron3"/>
    <dgm:cxn modelId="{2F71B66A-991B-4A34-B5CE-2B0FACAFCD60}" type="presParOf" srcId="{36547A1C-53A4-426D-9913-EB3EA9FBEEBF}" destId="{8A4B99B1-3786-4699-BCF3-F66297C48EF1}" srcOrd="2" destOrd="0" presId="urn:microsoft.com/office/officeart/2005/8/layout/hChevron3"/>
    <dgm:cxn modelId="{5DD8510F-ACB3-425A-ADF8-DB1F3CB3498D}" type="presParOf" srcId="{36547A1C-53A4-426D-9913-EB3EA9FBEEBF}" destId="{B1E237C3-A7A2-4148-8349-F3BFD5C753E9}" srcOrd="3" destOrd="0" presId="urn:microsoft.com/office/officeart/2005/8/layout/hChevron3"/>
    <dgm:cxn modelId="{B2E5A0B7-3679-4C95-B6AB-ACB94E4513E4}" type="presParOf" srcId="{36547A1C-53A4-426D-9913-EB3EA9FBEEBF}" destId="{2907A934-0BCE-4251-8DEE-98A2FE007A81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ADDA355-9455-4E40-A90F-B8F5F874F9D5}" type="doc">
      <dgm:prSet loTypeId="urn:microsoft.com/office/officeart/2005/8/layout/list1" loCatId="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zh-CN" altLang="en-US"/>
        </a:p>
      </dgm:t>
    </dgm:pt>
    <dgm:pt modelId="{F047427B-1257-704D-B427-22165D801713}">
      <dgm:prSet phldrT="[文本]" custT="1"/>
      <dgm:spPr/>
      <dgm:t>
        <a:bodyPr/>
        <a:lstStyle/>
        <a:p>
          <a:r>
            <a:rPr lang="zh-CN" altLang="en-US" sz="1050" dirty="0">
              <a:solidFill>
                <a:srgbClr val="7030A0"/>
              </a:solidFill>
              <a:latin typeface="Microsoft YaHei" panose="020B0503020204020204" pitchFamily="34" charset="-122"/>
              <a:ea typeface="Microsoft YaHei" panose="020B0503020204020204" pitchFamily="34" charset="-122"/>
            </a:rPr>
            <a:t>效果广告</a:t>
          </a:r>
        </a:p>
      </dgm:t>
    </dgm:pt>
    <dgm:pt modelId="{A04C60E3-3A97-EE46-A407-3899181286E1}" type="parTrans" cxnId="{A1638AC2-81C0-424C-BBCC-5C33623D0192}">
      <dgm:prSet/>
      <dgm:spPr/>
      <dgm:t>
        <a:bodyPr/>
        <a:lstStyle/>
        <a:p>
          <a:endParaRPr lang="zh-CN" altLang="en-US"/>
        </a:p>
      </dgm:t>
    </dgm:pt>
    <dgm:pt modelId="{218C71C0-5409-C54C-B691-B4093232B45C}" type="sibTrans" cxnId="{A1638AC2-81C0-424C-BBCC-5C33623D0192}">
      <dgm:prSet/>
      <dgm:spPr/>
      <dgm:t>
        <a:bodyPr/>
        <a:lstStyle/>
        <a:p>
          <a:endParaRPr lang="zh-CN" altLang="en-US"/>
        </a:p>
      </dgm:t>
    </dgm:pt>
    <dgm:pt modelId="{BF733D6E-9E96-1344-B481-D1A88558A850}">
      <dgm:prSet phldrT="[文本]" custT="1"/>
      <dgm:spPr/>
      <dgm:t>
        <a:bodyPr/>
        <a:lstStyle/>
        <a:p>
          <a:pPr marL="285750" indent="-285750" algn="l" defTabSz="914400" rtl="0" eaLnBrk="1" latinLnBrk="0" hangingPunct="1">
            <a:buFont typeface="Arial" panose="020B0604020202020204" pitchFamily="34" charset="0"/>
            <a:buChar char="•"/>
          </a:pPr>
          <a:r>
            <a:rPr kumimoji="1" lang="zh-CN" altLang="en-US" sz="1050" kern="1200" dirty="0">
              <a:solidFill>
                <a:schemeClr val="accent6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签约年费</a:t>
          </a:r>
        </a:p>
      </dgm:t>
    </dgm:pt>
    <dgm:pt modelId="{7C77F26D-9A58-7C49-8B2A-7568321A7A4C}" type="parTrans" cxnId="{9A645778-3589-8641-ACBB-6C26AD52B042}">
      <dgm:prSet/>
      <dgm:spPr/>
      <dgm:t>
        <a:bodyPr/>
        <a:lstStyle/>
        <a:p>
          <a:endParaRPr lang="zh-CN" altLang="en-US"/>
        </a:p>
      </dgm:t>
    </dgm:pt>
    <dgm:pt modelId="{7C96D5F7-4DDB-1248-B8FA-4C8743792D0B}" type="sibTrans" cxnId="{9A645778-3589-8641-ACBB-6C26AD52B042}">
      <dgm:prSet/>
      <dgm:spPr/>
      <dgm:t>
        <a:bodyPr/>
        <a:lstStyle/>
        <a:p>
          <a:endParaRPr lang="zh-CN" altLang="en-US"/>
        </a:p>
      </dgm:t>
    </dgm:pt>
    <dgm:pt modelId="{F21C092A-BD91-E347-A24A-B77B25F8A5B2}">
      <dgm:prSet phldrT="[文本]" custT="1"/>
      <dgm:spPr/>
      <dgm:t>
        <a:bodyPr/>
        <a:lstStyle/>
        <a:p>
          <a:r>
            <a:rPr lang="zh-CN" altLang="en-US" sz="1050" dirty="0">
              <a:solidFill>
                <a:schemeClr val="bg1">
                  <a:lumMod val="7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rPr>
            <a:t>品牌广告</a:t>
          </a:r>
        </a:p>
      </dgm:t>
    </dgm:pt>
    <dgm:pt modelId="{632D0257-FF0D-F24C-BD84-5327DECA47B5}" type="parTrans" cxnId="{EDDA9690-5177-AE48-8863-03D1AEB1587D}">
      <dgm:prSet/>
      <dgm:spPr/>
      <dgm:t>
        <a:bodyPr/>
        <a:lstStyle/>
        <a:p>
          <a:endParaRPr lang="zh-CN" altLang="en-US"/>
        </a:p>
      </dgm:t>
    </dgm:pt>
    <dgm:pt modelId="{D82DE21A-7D4F-1848-9379-F68DDEB81C35}" type="sibTrans" cxnId="{EDDA9690-5177-AE48-8863-03D1AEB1587D}">
      <dgm:prSet/>
      <dgm:spPr/>
      <dgm:t>
        <a:bodyPr/>
        <a:lstStyle/>
        <a:p>
          <a:endParaRPr lang="zh-CN" altLang="en-US"/>
        </a:p>
      </dgm:t>
    </dgm:pt>
    <dgm:pt modelId="{5FB3AD0E-D76A-1F47-99AA-D9455A80E1CF}" type="pres">
      <dgm:prSet presAssocID="{8ADDA355-9455-4E40-A90F-B8F5F874F9D5}" presName="linear" presStyleCnt="0">
        <dgm:presLayoutVars>
          <dgm:dir/>
          <dgm:animLvl val="lvl"/>
          <dgm:resizeHandles val="exact"/>
        </dgm:presLayoutVars>
      </dgm:prSet>
      <dgm:spPr/>
    </dgm:pt>
    <dgm:pt modelId="{E4D3F4DB-71DC-694E-A29A-9D418AE2310F}" type="pres">
      <dgm:prSet presAssocID="{F047427B-1257-704D-B427-22165D801713}" presName="parentLin" presStyleCnt="0"/>
      <dgm:spPr/>
    </dgm:pt>
    <dgm:pt modelId="{209D0750-C865-124C-920F-26497510801E}" type="pres">
      <dgm:prSet presAssocID="{F047427B-1257-704D-B427-22165D801713}" presName="parentLeftMargin" presStyleLbl="node1" presStyleIdx="0" presStyleCnt="3"/>
      <dgm:spPr/>
    </dgm:pt>
    <dgm:pt modelId="{459B6C47-5D8F-3843-8C0C-6C7694D63580}" type="pres">
      <dgm:prSet presAssocID="{F047427B-1257-704D-B427-22165D801713}" presName="parentText" presStyleLbl="node1" presStyleIdx="0" presStyleCnt="3" custLinFactNeighborX="-79526" custLinFactNeighborY="-5115">
        <dgm:presLayoutVars>
          <dgm:chMax val="0"/>
          <dgm:bulletEnabled val="1"/>
        </dgm:presLayoutVars>
      </dgm:prSet>
      <dgm:spPr/>
    </dgm:pt>
    <dgm:pt modelId="{983307EA-DC45-5E47-87A3-4244CB3AA622}" type="pres">
      <dgm:prSet presAssocID="{F047427B-1257-704D-B427-22165D801713}" presName="negativeSpace" presStyleCnt="0"/>
      <dgm:spPr/>
    </dgm:pt>
    <dgm:pt modelId="{C246FBE4-F896-8640-AD52-BC69D652D55B}" type="pres">
      <dgm:prSet presAssocID="{F047427B-1257-704D-B427-22165D801713}" presName="childText" presStyleLbl="conFgAcc1" presStyleIdx="0" presStyleCnt="3">
        <dgm:presLayoutVars>
          <dgm:bulletEnabled val="1"/>
        </dgm:presLayoutVars>
      </dgm:prSet>
      <dgm:spPr/>
    </dgm:pt>
    <dgm:pt modelId="{311AEE5D-09DC-9849-83BF-5A16552B9400}" type="pres">
      <dgm:prSet presAssocID="{218C71C0-5409-C54C-B691-B4093232B45C}" presName="spaceBetweenRectangles" presStyleCnt="0"/>
      <dgm:spPr/>
    </dgm:pt>
    <dgm:pt modelId="{003CD3C3-3877-B346-843C-6D1F8DB4F656}" type="pres">
      <dgm:prSet presAssocID="{BF733D6E-9E96-1344-B481-D1A88558A850}" presName="parentLin" presStyleCnt="0"/>
      <dgm:spPr/>
    </dgm:pt>
    <dgm:pt modelId="{F432619C-D7E5-C04B-BC23-1F5E9498D2A3}" type="pres">
      <dgm:prSet presAssocID="{BF733D6E-9E96-1344-B481-D1A88558A850}" presName="parentLeftMargin" presStyleLbl="node1" presStyleIdx="0" presStyleCnt="3"/>
      <dgm:spPr/>
    </dgm:pt>
    <dgm:pt modelId="{1ADFC92B-AA81-7C47-8516-EDE8B1D50691}" type="pres">
      <dgm:prSet presAssocID="{BF733D6E-9E96-1344-B481-D1A88558A850}" presName="parentText" presStyleLbl="node1" presStyleIdx="1" presStyleCnt="3" custLinFactX="-11317" custLinFactNeighborX="-100000" custLinFactNeighborY="2436">
        <dgm:presLayoutVars>
          <dgm:chMax val="0"/>
          <dgm:bulletEnabled val="1"/>
        </dgm:presLayoutVars>
      </dgm:prSet>
      <dgm:spPr/>
    </dgm:pt>
    <dgm:pt modelId="{D2A1C0C4-B471-E847-B910-08F4E81D4894}" type="pres">
      <dgm:prSet presAssocID="{BF733D6E-9E96-1344-B481-D1A88558A850}" presName="negativeSpace" presStyleCnt="0"/>
      <dgm:spPr/>
    </dgm:pt>
    <dgm:pt modelId="{70D20C15-DDB0-F240-B5BC-5E44CB85CDED}" type="pres">
      <dgm:prSet presAssocID="{BF733D6E-9E96-1344-B481-D1A88558A850}" presName="childText" presStyleLbl="conFgAcc1" presStyleIdx="1" presStyleCnt="3">
        <dgm:presLayoutVars>
          <dgm:bulletEnabled val="1"/>
        </dgm:presLayoutVars>
      </dgm:prSet>
      <dgm:spPr/>
    </dgm:pt>
    <dgm:pt modelId="{B5BE92BC-516B-D142-B745-52C654CDC35D}" type="pres">
      <dgm:prSet presAssocID="{7C96D5F7-4DDB-1248-B8FA-4C8743792D0B}" presName="spaceBetweenRectangles" presStyleCnt="0"/>
      <dgm:spPr/>
    </dgm:pt>
    <dgm:pt modelId="{18F323F2-EE1E-FD4C-993F-44C624A318A7}" type="pres">
      <dgm:prSet presAssocID="{F21C092A-BD91-E347-A24A-B77B25F8A5B2}" presName="parentLin" presStyleCnt="0"/>
      <dgm:spPr/>
    </dgm:pt>
    <dgm:pt modelId="{3BE90111-1919-6642-9532-DD499FE55622}" type="pres">
      <dgm:prSet presAssocID="{F21C092A-BD91-E347-A24A-B77B25F8A5B2}" presName="parentLeftMargin" presStyleLbl="node1" presStyleIdx="1" presStyleCnt="3"/>
      <dgm:spPr/>
    </dgm:pt>
    <dgm:pt modelId="{10611B1D-C71C-D646-A1B2-1008B0242BB1}" type="pres">
      <dgm:prSet presAssocID="{F21C092A-BD91-E347-A24A-B77B25F8A5B2}" presName="parentText" presStyleLbl="node1" presStyleIdx="2" presStyleCnt="3" custLinFactX="-11317" custLinFactNeighborX="-100000">
        <dgm:presLayoutVars>
          <dgm:chMax val="0"/>
          <dgm:bulletEnabled val="1"/>
        </dgm:presLayoutVars>
      </dgm:prSet>
      <dgm:spPr/>
    </dgm:pt>
    <dgm:pt modelId="{00AA0937-A457-5049-B14F-DE3596DA11F4}" type="pres">
      <dgm:prSet presAssocID="{F21C092A-BD91-E347-A24A-B77B25F8A5B2}" presName="negativeSpace" presStyleCnt="0"/>
      <dgm:spPr/>
    </dgm:pt>
    <dgm:pt modelId="{6B28A158-DA81-F74C-879B-A1AF53051B57}" type="pres">
      <dgm:prSet presAssocID="{F21C092A-BD91-E347-A24A-B77B25F8A5B2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396BD501-F500-0E4A-B318-16A780534A76}" type="presOf" srcId="{BF733D6E-9E96-1344-B481-D1A88558A850}" destId="{1ADFC92B-AA81-7C47-8516-EDE8B1D50691}" srcOrd="1" destOrd="0" presId="urn:microsoft.com/office/officeart/2005/8/layout/list1"/>
    <dgm:cxn modelId="{42CA4127-D3CF-8848-BB2E-D91C3D77CBDB}" type="presOf" srcId="{BF733D6E-9E96-1344-B481-D1A88558A850}" destId="{F432619C-D7E5-C04B-BC23-1F5E9498D2A3}" srcOrd="0" destOrd="0" presId="urn:microsoft.com/office/officeart/2005/8/layout/list1"/>
    <dgm:cxn modelId="{FD8AA155-66C8-8344-9433-D71FD29EFF92}" type="presOf" srcId="{F047427B-1257-704D-B427-22165D801713}" destId="{459B6C47-5D8F-3843-8C0C-6C7694D63580}" srcOrd="1" destOrd="0" presId="urn:microsoft.com/office/officeart/2005/8/layout/list1"/>
    <dgm:cxn modelId="{AE40A36F-3454-4642-B95A-756DA729678F}" type="presOf" srcId="{8ADDA355-9455-4E40-A90F-B8F5F874F9D5}" destId="{5FB3AD0E-D76A-1F47-99AA-D9455A80E1CF}" srcOrd="0" destOrd="0" presId="urn:microsoft.com/office/officeart/2005/8/layout/list1"/>
    <dgm:cxn modelId="{ECB02772-9671-F542-90EC-33D8D3B8BEF9}" type="presOf" srcId="{F047427B-1257-704D-B427-22165D801713}" destId="{209D0750-C865-124C-920F-26497510801E}" srcOrd="0" destOrd="0" presId="urn:microsoft.com/office/officeart/2005/8/layout/list1"/>
    <dgm:cxn modelId="{9A645778-3589-8641-ACBB-6C26AD52B042}" srcId="{8ADDA355-9455-4E40-A90F-B8F5F874F9D5}" destId="{BF733D6E-9E96-1344-B481-D1A88558A850}" srcOrd="1" destOrd="0" parTransId="{7C77F26D-9A58-7C49-8B2A-7568321A7A4C}" sibTransId="{7C96D5F7-4DDB-1248-B8FA-4C8743792D0B}"/>
    <dgm:cxn modelId="{EDDA9690-5177-AE48-8863-03D1AEB1587D}" srcId="{8ADDA355-9455-4E40-A90F-B8F5F874F9D5}" destId="{F21C092A-BD91-E347-A24A-B77B25F8A5B2}" srcOrd="2" destOrd="0" parTransId="{632D0257-FF0D-F24C-BD84-5327DECA47B5}" sibTransId="{D82DE21A-7D4F-1848-9379-F68DDEB81C35}"/>
    <dgm:cxn modelId="{BA312FA4-9507-FF4B-BAE3-6A957F943AB3}" type="presOf" srcId="{F21C092A-BD91-E347-A24A-B77B25F8A5B2}" destId="{3BE90111-1919-6642-9532-DD499FE55622}" srcOrd="0" destOrd="0" presId="urn:microsoft.com/office/officeart/2005/8/layout/list1"/>
    <dgm:cxn modelId="{A1638AC2-81C0-424C-BBCC-5C33623D0192}" srcId="{8ADDA355-9455-4E40-A90F-B8F5F874F9D5}" destId="{F047427B-1257-704D-B427-22165D801713}" srcOrd="0" destOrd="0" parTransId="{A04C60E3-3A97-EE46-A407-3899181286E1}" sibTransId="{218C71C0-5409-C54C-B691-B4093232B45C}"/>
    <dgm:cxn modelId="{F13478CD-CD12-2542-942B-8A59DE912774}" type="presOf" srcId="{F21C092A-BD91-E347-A24A-B77B25F8A5B2}" destId="{10611B1D-C71C-D646-A1B2-1008B0242BB1}" srcOrd="1" destOrd="0" presId="urn:microsoft.com/office/officeart/2005/8/layout/list1"/>
    <dgm:cxn modelId="{DE1C6E60-1B34-2F44-9A5B-AE2DF952801B}" type="presParOf" srcId="{5FB3AD0E-D76A-1F47-99AA-D9455A80E1CF}" destId="{E4D3F4DB-71DC-694E-A29A-9D418AE2310F}" srcOrd="0" destOrd="0" presId="urn:microsoft.com/office/officeart/2005/8/layout/list1"/>
    <dgm:cxn modelId="{9F793001-4E28-054F-A52D-BD9EBB12F227}" type="presParOf" srcId="{E4D3F4DB-71DC-694E-A29A-9D418AE2310F}" destId="{209D0750-C865-124C-920F-26497510801E}" srcOrd="0" destOrd="0" presId="urn:microsoft.com/office/officeart/2005/8/layout/list1"/>
    <dgm:cxn modelId="{BAC16570-7F82-F642-8950-ACAD9202AB14}" type="presParOf" srcId="{E4D3F4DB-71DC-694E-A29A-9D418AE2310F}" destId="{459B6C47-5D8F-3843-8C0C-6C7694D63580}" srcOrd="1" destOrd="0" presId="urn:microsoft.com/office/officeart/2005/8/layout/list1"/>
    <dgm:cxn modelId="{146BF1AE-C106-1E4C-8AD0-432F6EF75F28}" type="presParOf" srcId="{5FB3AD0E-D76A-1F47-99AA-D9455A80E1CF}" destId="{983307EA-DC45-5E47-87A3-4244CB3AA622}" srcOrd="1" destOrd="0" presId="urn:microsoft.com/office/officeart/2005/8/layout/list1"/>
    <dgm:cxn modelId="{43C42F2E-0FD7-494E-BD5E-DD2DEC29C981}" type="presParOf" srcId="{5FB3AD0E-D76A-1F47-99AA-D9455A80E1CF}" destId="{C246FBE4-F896-8640-AD52-BC69D652D55B}" srcOrd="2" destOrd="0" presId="urn:microsoft.com/office/officeart/2005/8/layout/list1"/>
    <dgm:cxn modelId="{A8AF5BC2-842D-2942-BE30-0019DE4C46D8}" type="presParOf" srcId="{5FB3AD0E-D76A-1F47-99AA-D9455A80E1CF}" destId="{311AEE5D-09DC-9849-83BF-5A16552B9400}" srcOrd="3" destOrd="0" presId="urn:microsoft.com/office/officeart/2005/8/layout/list1"/>
    <dgm:cxn modelId="{B48B57E4-8099-AE4A-AF23-0BF4AE2496C4}" type="presParOf" srcId="{5FB3AD0E-D76A-1F47-99AA-D9455A80E1CF}" destId="{003CD3C3-3877-B346-843C-6D1F8DB4F656}" srcOrd="4" destOrd="0" presId="urn:microsoft.com/office/officeart/2005/8/layout/list1"/>
    <dgm:cxn modelId="{526E3A49-B69E-A849-BC41-3EEED8A58F3A}" type="presParOf" srcId="{003CD3C3-3877-B346-843C-6D1F8DB4F656}" destId="{F432619C-D7E5-C04B-BC23-1F5E9498D2A3}" srcOrd="0" destOrd="0" presId="urn:microsoft.com/office/officeart/2005/8/layout/list1"/>
    <dgm:cxn modelId="{0823DBD6-F216-834D-8522-B6B0416FB9FC}" type="presParOf" srcId="{003CD3C3-3877-B346-843C-6D1F8DB4F656}" destId="{1ADFC92B-AA81-7C47-8516-EDE8B1D50691}" srcOrd="1" destOrd="0" presId="urn:microsoft.com/office/officeart/2005/8/layout/list1"/>
    <dgm:cxn modelId="{796AA345-C5DD-4040-BE22-0332AF8B8C3C}" type="presParOf" srcId="{5FB3AD0E-D76A-1F47-99AA-D9455A80E1CF}" destId="{D2A1C0C4-B471-E847-B910-08F4E81D4894}" srcOrd="5" destOrd="0" presId="urn:microsoft.com/office/officeart/2005/8/layout/list1"/>
    <dgm:cxn modelId="{85A59B86-BB29-0145-A027-F7B9EA48AC61}" type="presParOf" srcId="{5FB3AD0E-D76A-1F47-99AA-D9455A80E1CF}" destId="{70D20C15-DDB0-F240-B5BC-5E44CB85CDED}" srcOrd="6" destOrd="0" presId="urn:microsoft.com/office/officeart/2005/8/layout/list1"/>
    <dgm:cxn modelId="{38F320CF-6BCB-9544-A398-D32BD39DADB5}" type="presParOf" srcId="{5FB3AD0E-D76A-1F47-99AA-D9455A80E1CF}" destId="{B5BE92BC-516B-D142-B745-52C654CDC35D}" srcOrd="7" destOrd="0" presId="urn:microsoft.com/office/officeart/2005/8/layout/list1"/>
    <dgm:cxn modelId="{3AD83EB1-2F4B-6D42-ABA6-DC4495079574}" type="presParOf" srcId="{5FB3AD0E-D76A-1F47-99AA-D9455A80E1CF}" destId="{18F323F2-EE1E-FD4C-993F-44C624A318A7}" srcOrd="8" destOrd="0" presId="urn:microsoft.com/office/officeart/2005/8/layout/list1"/>
    <dgm:cxn modelId="{8BDAFDDF-A35F-8842-ACCB-405EC81A9471}" type="presParOf" srcId="{18F323F2-EE1E-FD4C-993F-44C624A318A7}" destId="{3BE90111-1919-6642-9532-DD499FE55622}" srcOrd="0" destOrd="0" presId="urn:microsoft.com/office/officeart/2005/8/layout/list1"/>
    <dgm:cxn modelId="{699F7F39-1BFD-4B46-A43F-F4A901671D10}" type="presParOf" srcId="{18F323F2-EE1E-FD4C-993F-44C624A318A7}" destId="{10611B1D-C71C-D646-A1B2-1008B0242BB1}" srcOrd="1" destOrd="0" presId="urn:microsoft.com/office/officeart/2005/8/layout/list1"/>
    <dgm:cxn modelId="{F212ECA2-8E9C-8D44-BD1F-7B9648B7DC4E}" type="presParOf" srcId="{5FB3AD0E-D76A-1F47-99AA-D9455A80E1CF}" destId="{00AA0937-A457-5049-B14F-DE3596DA11F4}" srcOrd="9" destOrd="0" presId="urn:microsoft.com/office/officeart/2005/8/layout/list1"/>
    <dgm:cxn modelId="{9EDBF5F6-3071-0045-B61E-FFA24DD27343}" type="presParOf" srcId="{5FB3AD0E-D76A-1F47-99AA-D9455A80E1CF}" destId="{6B28A158-DA81-F74C-879B-A1AF53051B57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C14FD70-A0FE-B940-8485-8F7C94DB42EF}" type="doc">
      <dgm:prSet loTypeId="urn:microsoft.com/office/officeart/2005/8/layout/pyramid3" loCatId="" qsTypeId="urn:microsoft.com/office/officeart/2005/8/quickstyle/simple1" qsCatId="simple" csTypeId="urn:microsoft.com/office/officeart/2005/8/colors/accent1_2" csCatId="accent1" phldr="1"/>
      <dgm:spPr/>
    </dgm:pt>
    <dgm:pt modelId="{EC6FAF38-4222-974A-8D1F-1C5ECA576FD4}">
      <dgm:prSet phldrT="[文本]"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zh-CN" altLang="en-US" sz="1000">
              <a:latin typeface="Microsoft YaHei" panose="020B0503020204020204" pitchFamily="34" charset="-122"/>
              <a:ea typeface="Microsoft YaHei" panose="020B0503020204020204" pitchFamily="34" charset="-122"/>
            </a:rPr>
            <a:t>拜访</a:t>
          </a:r>
          <a:endParaRPr lang="zh-CN" altLang="en-US" sz="10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D39CF87A-79D6-C844-8783-0FBEBDB35B0A}" type="parTrans" cxnId="{DA2A4AE4-2506-4C48-A4E3-F877BF5B8FF5}">
      <dgm:prSet/>
      <dgm:spPr/>
      <dgm:t>
        <a:bodyPr/>
        <a:lstStyle/>
        <a:p>
          <a:endParaRPr lang="zh-CN" altLang="en-US"/>
        </a:p>
      </dgm:t>
    </dgm:pt>
    <dgm:pt modelId="{3B97705D-5D87-364E-9243-B535883B6101}" type="sibTrans" cxnId="{DA2A4AE4-2506-4C48-A4E3-F877BF5B8FF5}">
      <dgm:prSet/>
      <dgm:spPr/>
      <dgm:t>
        <a:bodyPr/>
        <a:lstStyle/>
        <a:p>
          <a:endParaRPr lang="zh-CN" altLang="en-US"/>
        </a:p>
      </dgm:t>
    </dgm:pt>
    <dgm:pt modelId="{B01D4FFB-D532-2849-8537-1848356997D2}">
      <dgm:prSet phldrT="[文本]"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zh-CN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rPr>
            <a:t>意向</a:t>
          </a:r>
        </a:p>
      </dgm:t>
    </dgm:pt>
    <dgm:pt modelId="{5E9F8CCB-83FC-664B-A0C8-875038180A94}" type="parTrans" cxnId="{70ECE341-6508-0F49-BB5A-4C38FDE7E60D}">
      <dgm:prSet/>
      <dgm:spPr/>
      <dgm:t>
        <a:bodyPr/>
        <a:lstStyle/>
        <a:p>
          <a:endParaRPr lang="zh-CN" altLang="en-US"/>
        </a:p>
      </dgm:t>
    </dgm:pt>
    <dgm:pt modelId="{916DDFCA-9F05-C342-AFA5-52900E55705B}" type="sibTrans" cxnId="{70ECE341-6508-0F49-BB5A-4C38FDE7E60D}">
      <dgm:prSet/>
      <dgm:spPr/>
      <dgm:t>
        <a:bodyPr/>
        <a:lstStyle/>
        <a:p>
          <a:endParaRPr lang="zh-CN" altLang="en-US"/>
        </a:p>
      </dgm:t>
    </dgm:pt>
    <dgm:pt modelId="{0166C889-D220-8344-971B-65A8FADA1B74}">
      <dgm:prSet phldrT="[文本]"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zh-CN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rPr>
            <a:t>转化</a:t>
          </a:r>
        </a:p>
      </dgm:t>
    </dgm:pt>
    <dgm:pt modelId="{3A5EF460-FFED-5943-8C9D-EC70AC31C5CD}" type="parTrans" cxnId="{460BD5E7-FB8F-7447-989B-C12922584081}">
      <dgm:prSet/>
      <dgm:spPr/>
      <dgm:t>
        <a:bodyPr/>
        <a:lstStyle/>
        <a:p>
          <a:endParaRPr lang="zh-CN" altLang="en-US"/>
        </a:p>
      </dgm:t>
    </dgm:pt>
    <dgm:pt modelId="{78322A58-952C-424F-BB72-5E30FBCC49DE}" type="sibTrans" cxnId="{460BD5E7-FB8F-7447-989B-C12922584081}">
      <dgm:prSet/>
      <dgm:spPr/>
      <dgm:t>
        <a:bodyPr/>
        <a:lstStyle/>
        <a:p>
          <a:endParaRPr lang="zh-CN" altLang="en-US"/>
        </a:p>
      </dgm:t>
    </dgm:pt>
    <dgm:pt modelId="{6D007553-7DF0-9D42-B358-73E341C15C1C}" type="pres">
      <dgm:prSet presAssocID="{CC14FD70-A0FE-B940-8485-8F7C94DB42EF}" presName="Name0" presStyleCnt="0">
        <dgm:presLayoutVars>
          <dgm:dir/>
          <dgm:animLvl val="lvl"/>
          <dgm:resizeHandles val="exact"/>
        </dgm:presLayoutVars>
      </dgm:prSet>
      <dgm:spPr/>
    </dgm:pt>
    <dgm:pt modelId="{1171FC10-62AC-944F-A5CE-8F0CB592DA76}" type="pres">
      <dgm:prSet presAssocID="{EC6FAF38-4222-974A-8D1F-1C5ECA576FD4}" presName="Name8" presStyleCnt="0"/>
      <dgm:spPr/>
    </dgm:pt>
    <dgm:pt modelId="{CC6E2E7C-FC08-C64D-B992-7AFC26650298}" type="pres">
      <dgm:prSet presAssocID="{EC6FAF38-4222-974A-8D1F-1C5ECA576FD4}" presName="level" presStyleLbl="node1" presStyleIdx="0" presStyleCnt="3" custLinFactNeighborX="0" custLinFactNeighborY="-35519">
        <dgm:presLayoutVars>
          <dgm:chMax val="1"/>
          <dgm:bulletEnabled val="1"/>
        </dgm:presLayoutVars>
      </dgm:prSet>
      <dgm:spPr/>
    </dgm:pt>
    <dgm:pt modelId="{A78733EF-CBA7-104F-8021-C0DB21746239}" type="pres">
      <dgm:prSet presAssocID="{EC6FAF38-4222-974A-8D1F-1C5ECA576FD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ED081A4-3DE8-2A48-8681-C53EDC856445}" type="pres">
      <dgm:prSet presAssocID="{B01D4FFB-D532-2849-8537-1848356997D2}" presName="Name8" presStyleCnt="0"/>
      <dgm:spPr/>
    </dgm:pt>
    <dgm:pt modelId="{CE6F134D-4AD9-A440-A362-8B64E866A15C}" type="pres">
      <dgm:prSet presAssocID="{B01D4FFB-D532-2849-8537-1848356997D2}" presName="level" presStyleLbl="node1" presStyleIdx="1" presStyleCnt="3">
        <dgm:presLayoutVars>
          <dgm:chMax val="1"/>
          <dgm:bulletEnabled val="1"/>
        </dgm:presLayoutVars>
      </dgm:prSet>
      <dgm:spPr/>
    </dgm:pt>
    <dgm:pt modelId="{C2F71368-3457-6840-BDA5-BB5059E8A043}" type="pres">
      <dgm:prSet presAssocID="{B01D4FFB-D532-2849-8537-1848356997D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F2620A3A-B2E3-724D-B694-19CF7919AFF3}" type="pres">
      <dgm:prSet presAssocID="{0166C889-D220-8344-971B-65A8FADA1B74}" presName="Name8" presStyleCnt="0"/>
      <dgm:spPr/>
    </dgm:pt>
    <dgm:pt modelId="{0C307E1B-F829-9646-8550-2C5131C5C1B7}" type="pres">
      <dgm:prSet presAssocID="{0166C889-D220-8344-971B-65A8FADA1B74}" presName="level" presStyleLbl="node1" presStyleIdx="2" presStyleCnt="3">
        <dgm:presLayoutVars>
          <dgm:chMax val="1"/>
          <dgm:bulletEnabled val="1"/>
        </dgm:presLayoutVars>
      </dgm:prSet>
      <dgm:spPr/>
    </dgm:pt>
    <dgm:pt modelId="{788EE024-71B6-184A-89C7-E8E389AC673D}" type="pres">
      <dgm:prSet presAssocID="{0166C889-D220-8344-971B-65A8FADA1B74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3AB3CB32-2D1D-9647-894C-87EC7F9591E5}" type="presOf" srcId="{EC6FAF38-4222-974A-8D1F-1C5ECA576FD4}" destId="{CC6E2E7C-FC08-C64D-B992-7AFC26650298}" srcOrd="0" destOrd="0" presId="urn:microsoft.com/office/officeart/2005/8/layout/pyramid3"/>
    <dgm:cxn modelId="{70ECE341-6508-0F49-BB5A-4C38FDE7E60D}" srcId="{CC14FD70-A0FE-B940-8485-8F7C94DB42EF}" destId="{B01D4FFB-D532-2849-8537-1848356997D2}" srcOrd="1" destOrd="0" parTransId="{5E9F8CCB-83FC-664B-A0C8-875038180A94}" sibTransId="{916DDFCA-9F05-C342-AFA5-52900E55705B}"/>
    <dgm:cxn modelId="{62318676-A31F-1C46-94AE-D684159BCCF9}" type="presOf" srcId="{B01D4FFB-D532-2849-8537-1848356997D2}" destId="{CE6F134D-4AD9-A440-A362-8B64E866A15C}" srcOrd="0" destOrd="0" presId="urn:microsoft.com/office/officeart/2005/8/layout/pyramid3"/>
    <dgm:cxn modelId="{C1CEE47A-7D37-B845-9C4A-C093B904FAD4}" type="presOf" srcId="{CC14FD70-A0FE-B940-8485-8F7C94DB42EF}" destId="{6D007553-7DF0-9D42-B358-73E341C15C1C}" srcOrd="0" destOrd="0" presId="urn:microsoft.com/office/officeart/2005/8/layout/pyramid3"/>
    <dgm:cxn modelId="{07106792-562C-2B4B-BB08-4F8A2837CB01}" type="presOf" srcId="{0166C889-D220-8344-971B-65A8FADA1B74}" destId="{788EE024-71B6-184A-89C7-E8E389AC673D}" srcOrd="1" destOrd="0" presId="urn:microsoft.com/office/officeart/2005/8/layout/pyramid3"/>
    <dgm:cxn modelId="{B0756DAE-6F2E-1C41-800D-EF227FA9764A}" type="presOf" srcId="{EC6FAF38-4222-974A-8D1F-1C5ECA576FD4}" destId="{A78733EF-CBA7-104F-8021-C0DB21746239}" srcOrd="1" destOrd="0" presId="urn:microsoft.com/office/officeart/2005/8/layout/pyramid3"/>
    <dgm:cxn modelId="{EBEF94D9-3229-194E-B35B-926C1022FAF2}" type="presOf" srcId="{B01D4FFB-D532-2849-8537-1848356997D2}" destId="{C2F71368-3457-6840-BDA5-BB5059E8A043}" srcOrd="1" destOrd="0" presId="urn:microsoft.com/office/officeart/2005/8/layout/pyramid3"/>
    <dgm:cxn modelId="{DA2A4AE4-2506-4C48-A4E3-F877BF5B8FF5}" srcId="{CC14FD70-A0FE-B940-8485-8F7C94DB42EF}" destId="{EC6FAF38-4222-974A-8D1F-1C5ECA576FD4}" srcOrd="0" destOrd="0" parTransId="{D39CF87A-79D6-C844-8783-0FBEBDB35B0A}" sibTransId="{3B97705D-5D87-364E-9243-B535883B6101}"/>
    <dgm:cxn modelId="{460BD5E7-FB8F-7447-989B-C12922584081}" srcId="{CC14FD70-A0FE-B940-8485-8F7C94DB42EF}" destId="{0166C889-D220-8344-971B-65A8FADA1B74}" srcOrd="2" destOrd="0" parTransId="{3A5EF460-FFED-5943-8C9D-EC70AC31C5CD}" sibTransId="{78322A58-952C-424F-BB72-5E30FBCC49DE}"/>
    <dgm:cxn modelId="{BAFD56FB-1970-D247-9305-E33878A1F489}" type="presOf" srcId="{0166C889-D220-8344-971B-65A8FADA1B74}" destId="{0C307E1B-F829-9646-8550-2C5131C5C1B7}" srcOrd="0" destOrd="0" presId="urn:microsoft.com/office/officeart/2005/8/layout/pyramid3"/>
    <dgm:cxn modelId="{50FD041A-1BFE-7F47-BC70-1F45EB730125}" type="presParOf" srcId="{6D007553-7DF0-9D42-B358-73E341C15C1C}" destId="{1171FC10-62AC-944F-A5CE-8F0CB592DA76}" srcOrd="0" destOrd="0" presId="urn:microsoft.com/office/officeart/2005/8/layout/pyramid3"/>
    <dgm:cxn modelId="{79FB3139-D19D-B146-877A-AE2289344252}" type="presParOf" srcId="{1171FC10-62AC-944F-A5CE-8F0CB592DA76}" destId="{CC6E2E7C-FC08-C64D-B992-7AFC26650298}" srcOrd="0" destOrd="0" presId="urn:microsoft.com/office/officeart/2005/8/layout/pyramid3"/>
    <dgm:cxn modelId="{8109840B-83DB-1546-BAE4-7AC5643E88D2}" type="presParOf" srcId="{1171FC10-62AC-944F-A5CE-8F0CB592DA76}" destId="{A78733EF-CBA7-104F-8021-C0DB21746239}" srcOrd="1" destOrd="0" presId="urn:microsoft.com/office/officeart/2005/8/layout/pyramid3"/>
    <dgm:cxn modelId="{E4277677-2792-6D44-A9F3-014B455F1F16}" type="presParOf" srcId="{6D007553-7DF0-9D42-B358-73E341C15C1C}" destId="{CED081A4-3DE8-2A48-8681-C53EDC856445}" srcOrd="1" destOrd="0" presId="urn:microsoft.com/office/officeart/2005/8/layout/pyramid3"/>
    <dgm:cxn modelId="{659FCB06-B8D6-3840-B4C2-40B5F6700F7F}" type="presParOf" srcId="{CED081A4-3DE8-2A48-8681-C53EDC856445}" destId="{CE6F134D-4AD9-A440-A362-8B64E866A15C}" srcOrd="0" destOrd="0" presId="urn:microsoft.com/office/officeart/2005/8/layout/pyramid3"/>
    <dgm:cxn modelId="{AAC40839-6A11-8943-A6E9-D49EEF22F9F7}" type="presParOf" srcId="{CED081A4-3DE8-2A48-8681-C53EDC856445}" destId="{C2F71368-3457-6840-BDA5-BB5059E8A043}" srcOrd="1" destOrd="0" presId="urn:microsoft.com/office/officeart/2005/8/layout/pyramid3"/>
    <dgm:cxn modelId="{78D4428A-878D-0949-85B2-518F92951BDE}" type="presParOf" srcId="{6D007553-7DF0-9D42-B358-73E341C15C1C}" destId="{F2620A3A-B2E3-724D-B694-19CF7919AFF3}" srcOrd="2" destOrd="0" presId="urn:microsoft.com/office/officeart/2005/8/layout/pyramid3"/>
    <dgm:cxn modelId="{94628277-D666-D842-8050-9640D7965A56}" type="presParOf" srcId="{F2620A3A-B2E3-724D-B694-19CF7919AFF3}" destId="{0C307E1B-F829-9646-8550-2C5131C5C1B7}" srcOrd="0" destOrd="0" presId="urn:microsoft.com/office/officeart/2005/8/layout/pyramid3"/>
    <dgm:cxn modelId="{7999C50B-F113-5143-B735-BDB2D8AC2C72}" type="presParOf" srcId="{F2620A3A-B2E3-724D-B694-19CF7919AFF3}" destId="{788EE024-71B6-184A-89C7-E8E389AC673D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C8F3D3C-76FD-1040-81FB-5F70BB710264}" type="doc">
      <dgm:prSet loTypeId="urn:microsoft.com/office/officeart/2005/8/layout/hierarchy3" loCatId="" qsTypeId="urn:microsoft.com/office/officeart/2005/8/quickstyle/simple4" qsCatId="simple" csTypeId="urn:microsoft.com/office/officeart/2005/8/colors/accent5_2" csCatId="accent5" phldr="1"/>
      <dgm:spPr/>
      <dgm:t>
        <a:bodyPr/>
        <a:lstStyle/>
        <a:p>
          <a:endParaRPr lang="zh-CN" altLang="en-US"/>
        </a:p>
      </dgm:t>
    </dgm:pt>
    <dgm:pt modelId="{3698DBFC-80E5-C549-932F-C5FEDC254553}">
      <dgm:prSet phldrT="[文本]" custT="1"/>
      <dgm:spPr/>
      <dgm:t>
        <a:bodyPr/>
        <a:lstStyle/>
        <a:p>
          <a:r>
            <a:rPr lang="zh-CN" altLang="en-US" sz="1500" b="1" dirty="0">
              <a:latin typeface="Microsoft YaHei" panose="020B0503020204020204" pitchFamily="34" charset="-122"/>
              <a:ea typeface="Microsoft YaHei" panose="020B0503020204020204" pitchFamily="34" charset="-122"/>
            </a:rPr>
            <a:t>问题</a:t>
          </a:r>
        </a:p>
      </dgm:t>
    </dgm:pt>
    <dgm:pt modelId="{27C363AF-22C7-DA4D-9513-849DF541011D}" type="parTrans" cxnId="{745414C9-5A22-2044-83F0-54058AFF5DD1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CE575B18-FAE5-0E43-9BFA-589CCC4BBAD0}" type="sibTrans" cxnId="{745414C9-5A22-2044-83F0-54058AFF5DD1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8AB5312D-9A1A-3346-8160-E750B80762BB}">
      <dgm:prSet phldrT="[文本]" custT="1"/>
      <dgm:spPr/>
      <dgm:t>
        <a:bodyPr/>
        <a:lstStyle/>
        <a:p>
          <a:r>
            <a:rPr lang="zh-CN" altLang="en-US" sz="1500" dirty="0">
              <a:latin typeface="Microsoft YaHei" panose="020B0503020204020204" pitchFamily="34" charset="-122"/>
              <a:ea typeface="Microsoft YaHei" panose="020B0503020204020204" pitchFamily="34" charset="-122"/>
            </a:rPr>
            <a:t>业务追求结果</a:t>
          </a:r>
        </a:p>
      </dgm:t>
    </dgm:pt>
    <dgm:pt modelId="{5054D68F-B401-BA45-8F47-7EE244506FA2}" type="parTrans" cxnId="{6D426B3C-9FF1-5D4B-82CC-985D28D16CEC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04577F05-7EAF-4246-8629-85B6F61F03AC}" type="sibTrans" cxnId="{6D426B3C-9FF1-5D4B-82CC-985D28D16CEC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C8F981E2-4ED9-EE4A-88B2-5C8029C69185}">
      <dgm:prSet phldrT="[文本]" custT="1"/>
      <dgm:spPr/>
      <dgm:t>
        <a:bodyPr/>
        <a:lstStyle/>
        <a:p>
          <a:r>
            <a:rPr lang="zh-CN" altLang="en-US" sz="1500" dirty="0">
              <a:latin typeface="Microsoft YaHei" panose="020B0503020204020204" pitchFamily="34" charset="-122"/>
              <a:ea typeface="Microsoft YaHei" panose="020B0503020204020204" pitchFamily="34" charset="-122"/>
            </a:rPr>
            <a:t>深入业务</a:t>
          </a:r>
        </a:p>
      </dgm:t>
    </dgm:pt>
    <dgm:pt modelId="{23500004-86B6-634C-91D6-505326C82BB5}" type="parTrans" cxnId="{AD09D517-3E17-924E-B67D-FC2405FC5B09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AEDE96BC-BEF9-D84E-973C-3660B6784897}" type="sibTrans" cxnId="{AD09D517-3E17-924E-B67D-FC2405FC5B09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A65EF526-518F-6C42-B7DB-4EF081A974CB}">
      <dgm:prSet custT="1"/>
      <dgm:spPr/>
      <dgm:t>
        <a:bodyPr/>
        <a:lstStyle/>
        <a:p>
          <a:r>
            <a:rPr lang="zh-CN" altLang="en-US" sz="1500" b="1" dirty="0">
              <a:latin typeface="Microsoft YaHei" panose="020B0503020204020204" pitchFamily="34" charset="-122"/>
              <a:ea typeface="Microsoft YaHei" panose="020B0503020204020204" pitchFamily="34" charset="-122"/>
            </a:rPr>
            <a:t>解决方向</a:t>
          </a:r>
        </a:p>
      </dgm:t>
    </dgm:pt>
    <dgm:pt modelId="{207940D5-D2CB-E54C-8A52-4830B30F692F}" type="parTrans" cxnId="{7500C65B-7B12-F24F-B7DB-DC63A054AECF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F5C3D7C-7254-9645-A7D4-F1B99BA7CC13}" type="sibTrans" cxnId="{7500C65B-7B12-F24F-B7DB-DC63A054AECF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48A2D263-C021-F34B-AE54-4084A9DA3BDB}">
      <dgm:prSet custT="1"/>
      <dgm:spPr/>
      <dgm:t>
        <a:bodyPr/>
        <a:lstStyle/>
        <a:p>
          <a:r>
            <a:rPr lang="zh-CN" altLang="en-US" sz="1500" b="1" dirty="0">
              <a:latin typeface="Microsoft YaHei" panose="020B0503020204020204" pitchFamily="34" charset="-122"/>
              <a:ea typeface="Microsoft YaHei" panose="020B0503020204020204" pitchFamily="34" charset="-122"/>
            </a:rPr>
            <a:t>未来规划</a:t>
          </a:r>
        </a:p>
      </dgm:t>
    </dgm:pt>
    <dgm:pt modelId="{141A91B5-A7A3-814F-86F6-C537D05EF2EF}" type="parTrans" cxnId="{E11CA2DC-15C6-F14B-B59B-3033C1E6E2A9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405DF8AE-A9F5-DB47-9382-DBC1A8007101}" type="sibTrans" cxnId="{E11CA2DC-15C6-F14B-B59B-3033C1E6E2A9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66288BB7-7342-6A49-AFE0-A0E8C02EAD9C}">
      <dgm:prSet custT="1"/>
      <dgm:spPr/>
      <dgm:t>
        <a:bodyPr/>
        <a:lstStyle/>
        <a:p>
          <a:pPr algn="l"/>
          <a:r>
            <a:rPr lang="zh-CN" altLang="en-US" sz="1500" dirty="0">
              <a:latin typeface="Microsoft YaHei" panose="020B0503020204020204" pitchFamily="34" charset="-122"/>
              <a:ea typeface="Microsoft YaHei" panose="020B0503020204020204" pitchFamily="34" charset="-122"/>
            </a:rPr>
            <a:t>关注业务健康度</a:t>
          </a:r>
          <a:r>
            <a:rPr lang="en-US" altLang="zh-CN" sz="1500" dirty="0">
              <a:latin typeface="Microsoft YaHei" panose="020B0503020204020204" pitchFamily="34" charset="-122"/>
              <a:ea typeface="Microsoft YaHei" panose="020B0503020204020204" pitchFamily="34" charset="-122"/>
            </a:rPr>
            <a:t>&amp;</a:t>
          </a:r>
          <a:r>
            <a:rPr lang="zh-CN" altLang="en-US" sz="1500" dirty="0">
              <a:latin typeface="Microsoft YaHei" panose="020B0503020204020204" pitchFamily="34" charset="-122"/>
              <a:ea typeface="Microsoft YaHei" panose="020B0503020204020204" pitchFamily="34" charset="-122"/>
            </a:rPr>
            <a:t>趋势</a:t>
          </a:r>
        </a:p>
      </dgm:t>
    </dgm:pt>
    <dgm:pt modelId="{28730AAE-FBA9-FC49-92F3-94D7888C6466}" type="parTrans" cxnId="{AA22AE1F-B385-FC40-84A3-4CFC7F4B9494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3374EC44-DB93-4846-8C6D-5B79D555BBB2}" type="sibTrans" cxnId="{AA22AE1F-B385-FC40-84A3-4CFC7F4B9494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C3F0FB54-6914-3F4C-AFED-C872C446B16A}">
      <dgm:prSet phldrT="[文本]" custT="1"/>
      <dgm:spPr/>
      <dgm:t>
        <a:bodyPr/>
        <a:lstStyle/>
        <a:p>
          <a:r>
            <a:rPr lang="zh-CN" altLang="en-US" sz="1500" dirty="0">
              <a:latin typeface="Microsoft YaHei" panose="020B0503020204020204" pitchFamily="34" charset="-122"/>
              <a:ea typeface="Microsoft YaHei" panose="020B0503020204020204" pitchFamily="34" charset="-122"/>
            </a:rPr>
            <a:t>数据工作耗时</a:t>
          </a:r>
        </a:p>
      </dgm:t>
    </dgm:pt>
    <dgm:pt modelId="{C5800A6A-2579-7E47-B6BF-FFCA4FFC8800}" type="parTrans" cxnId="{D39A416B-EC7D-4343-9D4A-F19917865760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16FF7A8E-4255-6240-8AED-E76A7CAE8023}" type="sibTrans" cxnId="{D39A416B-EC7D-4343-9D4A-F19917865760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BCB10340-D574-0E40-AC80-5BDA1A55A69F}">
      <dgm:prSet custT="1"/>
      <dgm:spPr/>
      <dgm:t>
        <a:bodyPr/>
        <a:lstStyle/>
        <a:p>
          <a:pPr algn="l"/>
          <a:r>
            <a:rPr lang="zh-CN" altLang="en-US" sz="1500" dirty="0">
              <a:latin typeface="Microsoft YaHei" panose="020B0503020204020204" pitchFamily="34" charset="-122"/>
              <a:ea typeface="Microsoft YaHei" panose="020B0503020204020204" pitchFamily="34" charset="-122"/>
            </a:rPr>
            <a:t>走进业务，参与业务周会复盘</a:t>
          </a:r>
        </a:p>
      </dgm:t>
    </dgm:pt>
    <dgm:pt modelId="{625F330C-BDD8-0149-96EB-53DEB0A98DDB}" type="parTrans" cxnId="{5F6F124A-FB52-1A48-AD2F-E3C68886295B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50B240EA-9509-5646-8484-2AD2BD16752D}" type="sibTrans" cxnId="{5F6F124A-FB52-1A48-AD2F-E3C68886295B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8396A62F-1D34-5B4A-A0CA-5D59F8D744A8}">
      <dgm:prSet custT="1"/>
      <dgm:spPr/>
      <dgm:t>
        <a:bodyPr/>
        <a:lstStyle/>
        <a:p>
          <a:pPr algn="l"/>
          <a:r>
            <a:rPr lang="zh-CN" altLang="en-US" sz="1500" dirty="0">
              <a:latin typeface="Microsoft YaHei" panose="020B0503020204020204" pitchFamily="34" charset="-122"/>
              <a:ea typeface="Microsoft YaHei" panose="020B0503020204020204" pitchFamily="34" charset="-122"/>
            </a:rPr>
            <a:t>完善数据基建</a:t>
          </a:r>
          <a:r>
            <a:rPr lang="en-US" altLang="zh-CN" sz="1500" dirty="0">
              <a:latin typeface="Microsoft YaHei" panose="020B0503020204020204" pitchFamily="34" charset="-122"/>
              <a:ea typeface="Microsoft YaHei" panose="020B0503020204020204" pitchFamily="34" charset="-122"/>
            </a:rPr>
            <a:t>&amp;</a:t>
          </a:r>
          <a:r>
            <a:rPr lang="zh-CN" altLang="en-US" sz="1500" dirty="0">
              <a:latin typeface="Microsoft YaHei" panose="020B0503020204020204" pitchFamily="34" charset="-122"/>
              <a:ea typeface="Microsoft YaHei" panose="020B0503020204020204" pitchFamily="34" charset="-122"/>
            </a:rPr>
            <a:t>工具，任务合理评估排期</a:t>
          </a:r>
        </a:p>
      </dgm:t>
    </dgm:pt>
    <dgm:pt modelId="{C015993E-CC4F-9146-AAC3-92FB164427E2}" type="parTrans" cxnId="{A45C96A6-1DEB-D844-879B-0FD66A6B8E97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EC6C185A-C939-2E45-AA6A-82C78F440DB7}" type="sibTrans" cxnId="{A45C96A6-1DEB-D844-879B-0FD66A6B8E97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9C9F78D2-A3A9-DD4F-832C-5610475A6857}">
      <dgm:prSet custT="1"/>
      <dgm:spPr/>
      <dgm:t>
        <a:bodyPr/>
        <a:lstStyle/>
        <a:p>
          <a:pPr algn="l"/>
          <a:r>
            <a:rPr lang="zh-CN" altLang="en-US" sz="1500" dirty="0">
              <a:latin typeface="Microsoft YaHei" panose="020B0503020204020204" pitchFamily="34" charset="-122"/>
              <a:ea typeface="Microsoft YaHei" panose="020B0503020204020204" pitchFamily="34" charset="-122"/>
            </a:rPr>
            <a:t>多维的经营分析</a:t>
          </a:r>
        </a:p>
      </dgm:t>
    </dgm:pt>
    <dgm:pt modelId="{13FD761B-5EED-F74C-8B18-E85453A578F1}" type="parTrans" cxnId="{B6E0EE8A-8523-CC40-857E-C3ECA2924FAB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3BA52E8F-4677-F744-874A-D2B4D6AACA8D}" type="sibTrans" cxnId="{B6E0EE8A-8523-CC40-857E-C3ECA2924FAB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1794633C-298D-C04E-9604-FA3AA0E7DB57}">
      <dgm:prSet custT="1"/>
      <dgm:spPr/>
      <dgm:t>
        <a:bodyPr/>
        <a:lstStyle/>
        <a:p>
          <a:pPr algn="l"/>
          <a:r>
            <a:rPr lang="zh-CN" altLang="en-US" sz="1500" dirty="0">
              <a:latin typeface="Microsoft YaHei" panose="020B0503020204020204" pitchFamily="34" charset="-122"/>
              <a:ea typeface="Microsoft YaHei" panose="020B0503020204020204" pitchFamily="34" charset="-122"/>
            </a:rPr>
            <a:t>结构化的数据指标体系建设</a:t>
          </a:r>
        </a:p>
      </dgm:t>
    </dgm:pt>
    <dgm:pt modelId="{BE2B4C52-BFC5-4E4A-978A-313D2F0F3129}" type="parTrans" cxnId="{C3B9ED3F-8B2B-4144-ACA1-73D43D76FC87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48A61523-DE8B-FC4D-BC4D-2B96FAC9ECAE}" type="sibTrans" cxnId="{C3B9ED3F-8B2B-4144-ACA1-73D43D76FC87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115C306F-FF8E-E64B-A4FC-23F190AF5774}">
      <dgm:prSet custT="1"/>
      <dgm:spPr/>
      <dgm:t>
        <a:bodyPr/>
        <a:lstStyle/>
        <a:p>
          <a:pPr algn="l"/>
          <a:r>
            <a:rPr lang="zh-CN" altLang="en-US" sz="1500" dirty="0">
              <a:latin typeface="Microsoft YaHei" panose="020B0503020204020204" pitchFamily="34" charset="-122"/>
              <a:ea typeface="Microsoft YaHei" panose="020B0503020204020204" pitchFamily="34" charset="-122"/>
            </a:rPr>
            <a:t>直接参与到业务</a:t>
          </a:r>
          <a:r>
            <a:rPr lang="en-US" altLang="zh-CN" sz="1500" dirty="0">
              <a:latin typeface="Microsoft YaHei" panose="020B0503020204020204" pitchFamily="34" charset="-122"/>
              <a:ea typeface="Microsoft YaHei" panose="020B0503020204020204" pitchFamily="34" charset="-122"/>
            </a:rPr>
            <a:t>BP</a:t>
          </a:r>
          <a:r>
            <a:rPr lang="zh-CN" altLang="en-US" sz="1500" dirty="0">
              <a:latin typeface="Microsoft YaHei" panose="020B0503020204020204" pitchFamily="34" charset="-122"/>
              <a:ea typeface="Microsoft YaHei" panose="020B0503020204020204" pitchFamily="34" charset="-122"/>
            </a:rPr>
            <a:t>的周会工作中</a:t>
          </a:r>
        </a:p>
      </dgm:t>
    </dgm:pt>
    <dgm:pt modelId="{9D6B5595-4FA3-344D-8C4C-F252A869BE71}" type="parTrans" cxnId="{EC77C2F9-C432-294E-9E79-9EE6BFD693A0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A5F5D44C-5F06-1C40-8D9C-62C4971C7ACE}" type="sibTrans" cxnId="{EC77C2F9-C432-294E-9E79-9EE6BFD693A0}">
      <dgm:prSet/>
      <dgm:spPr/>
      <dgm:t>
        <a:bodyPr/>
        <a:lstStyle/>
        <a:p>
          <a:endParaRPr lang="zh-CN" altLang="en-US" sz="15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E7330D39-AFD9-9043-BBDC-EA1223D692A2}" type="pres">
      <dgm:prSet presAssocID="{AC8F3D3C-76FD-1040-81FB-5F70BB710264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A59AE49-58F3-4949-BA8B-91FE8FB366AF}" type="pres">
      <dgm:prSet presAssocID="{3698DBFC-80E5-C549-932F-C5FEDC254553}" presName="root" presStyleCnt="0"/>
      <dgm:spPr/>
    </dgm:pt>
    <dgm:pt modelId="{50F52C00-71C9-FF4D-AE01-3052CA1885C8}" type="pres">
      <dgm:prSet presAssocID="{3698DBFC-80E5-C549-932F-C5FEDC254553}" presName="rootComposite" presStyleCnt="0"/>
      <dgm:spPr/>
    </dgm:pt>
    <dgm:pt modelId="{B7074FDA-DE21-CF42-907E-C8D590D5A15C}" type="pres">
      <dgm:prSet presAssocID="{3698DBFC-80E5-C549-932F-C5FEDC254553}" presName="rootText" presStyleLbl="node1" presStyleIdx="0" presStyleCnt="3"/>
      <dgm:spPr/>
    </dgm:pt>
    <dgm:pt modelId="{6C4A5858-208B-A846-BE1D-675FEDDFA06D}" type="pres">
      <dgm:prSet presAssocID="{3698DBFC-80E5-C549-932F-C5FEDC254553}" presName="rootConnector" presStyleLbl="node1" presStyleIdx="0" presStyleCnt="3"/>
      <dgm:spPr/>
    </dgm:pt>
    <dgm:pt modelId="{E49D2CCD-68AE-5844-B102-3BAD241586C3}" type="pres">
      <dgm:prSet presAssocID="{3698DBFC-80E5-C549-932F-C5FEDC254553}" presName="childShape" presStyleCnt="0"/>
      <dgm:spPr/>
    </dgm:pt>
    <dgm:pt modelId="{618780EB-0A70-7742-AEA1-8F873DA38530}" type="pres">
      <dgm:prSet presAssocID="{5054D68F-B401-BA45-8F47-7EE244506FA2}" presName="Name13" presStyleLbl="parChTrans1D2" presStyleIdx="0" presStyleCnt="9"/>
      <dgm:spPr/>
    </dgm:pt>
    <dgm:pt modelId="{614957E5-113C-0444-B3CD-E065271B6BE6}" type="pres">
      <dgm:prSet presAssocID="{8AB5312D-9A1A-3346-8160-E750B80762BB}" presName="childText" presStyleLbl="bgAcc1" presStyleIdx="0" presStyleCnt="9">
        <dgm:presLayoutVars>
          <dgm:bulletEnabled val="1"/>
        </dgm:presLayoutVars>
      </dgm:prSet>
      <dgm:spPr/>
    </dgm:pt>
    <dgm:pt modelId="{A8DE44B4-D123-1549-A2CA-FD677C913D7C}" type="pres">
      <dgm:prSet presAssocID="{23500004-86B6-634C-91D6-505326C82BB5}" presName="Name13" presStyleLbl="parChTrans1D2" presStyleIdx="1" presStyleCnt="9"/>
      <dgm:spPr/>
    </dgm:pt>
    <dgm:pt modelId="{68CBCF98-C228-7747-BA5F-49618D3A3E63}" type="pres">
      <dgm:prSet presAssocID="{C8F981E2-4ED9-EE4A-88B2-5C8029C69185}" presName="childText" presStyleLbl="bgAcc1" presStyleIdx="1" presStyleCnt="9">
        <dgm:presLayoutVars>
          <dgm:bulletEnabled val="1"/>
        </dgm:presLayoutVars>
      </dgm:prSet>
      <dgm:spPr/>
    </dgm:pt>
    <dgm:pt modelId="{8C5AC811-B717-594A-B137-B8C8F93F9D4D}" type="pres">
      <dgm:prSet presAssocID="{C5800A6A-2579-7E47-B6BF-FFCA4FFC8800}" presName="Name13" presStyleLbl="parChTrans1D2" presStyleIdx="2" presStyleCnt="9"/>
      <dgm:spPr/>
    </dgm:pt>
    <dgm:pt modelId="{BDCF0B6E-914D-3341-A727-05986947885A}" type="pres">
      <dgm:prSet presAssocID="{C3F0FB54-6914-3F4C-AFED-C872C446B16A}" presName="childText" presStyleLbl="bgAcc1" presStyleIdx="2" presStyleCnt="9">
        <dgm:presLayoutVars>
          <dgm:bulletEnabled val="1"/>
        </dgm:presLayoutVars>
      </dgm:prSet>
      <dgm:spPr/>
    </dgm:pt>
    <dgm:pt modelId="{D620640B-72AB-6444-A080-CC85C44E0095}" type="pres">
      <dgm:prSet presAssocID="{A65EF526-518F-6C42-B7DB-4EF081A974CB}" presName="root" presStyleCnt="0"/>
      <dgm:spPr/>
    </dgm:pt>
    <dgm:pt modelId="{2BBB05FD-B2C4-934E-BBEF-16DD55B05A81}" type="pres">
      <dgm:prSet presAssocID="{A65EF526-518F-6C42-B7DB-4EF081A974CB}" presName="rootComposite" presStyleCnt="0"/>
      <dgm:spPr/>
    </dgm:pt>
    <dgm:pt modelId="{D927AA6A-B7D6-6B48-8CC6-6060A923576C}" type="pres">
      <dgm:prSet presAssocID="{A65EF526-518F-6C42-B7DB-4EF081A974CB}" presName="rootText" presStyleLbl="node1" presStyleIdx="1" presStyleCnt="3"/>
      <dgm:spPr/>
    </dgm:pt>
    <dgm:pt modelId="{A7EC2D6D-DF27-5048-88DD-DDEA8684A0F7}" type="pres">
      <dgm:prSet presAssocID="{A65EF526-518F-6C42-B7DB-4EF081A974CB}" presName="rootConnector" presStyleLbl="node1" presStyleIdx="1" presStyleCnt="3"/>
      <dgm:spPr/>
    </dgm:pt>
    <dgm:pt modelId="{1364764A-23AE-A84D-B8CD-E375A7EDBB1F}" type="pres">
      <dgm:prSet presAssocID="{A65EF526-518F-6C42-B7DB-4EF081A974CB}" presName="childShape" presStyleCnt="0"/>
      <dgm:spPr/>
    </dgm:pt>
    <dgm:pt modelId="{67B65574-27E8-F940-B002-EB806C4A9BA8}" type="pres">
      <dgm:prSet presAssocID="{28730AAE-FBA9-FC49-92F3-94D7888C6466}" presName="Name13" presStyleLbl="parChTrans1D2" presStyleIdx="3" presStyleCnt="9"/>
      <dgm:spPr/>
    </dgm:pt>
    <dgm:pt modelId="{32E40411-5160-EC42-9FAB-611A1F0CC74C}" type="pres">
      <dgm:prSet presAssocID="{66288BB7-7342-6A49-AFE0-A0E8C02EAD9C}" presName="childText" presStyleLbl="bgAcc1" presStyleIdx="3" presStyleCnt="9">
        <dgm:presLayoutVars>
          <dgm:bulletEnabled val="1"/>
        </dgm:presLayoutVars>
      </dgm:prSet>
      <dgm:spPr/>
    </dgm:pt>
    <dgm:pt modelId="{B7C4CD94-E576-824C-8622-F0639B043C69}" type="pres">
      <dgm:prSet presAssocID="{625F330C-BDD8-0149-96EB-53DEB0A98DDB}" presName="Name13" presStyleLbl="parChTrans1D2" presStyleIdx="4" presStyleCnt="9"/>
      <dgm:spPr/>
    </dgm:pt>
    <dgm:pt modelId="{861C8C85-A75C-ED40-93EC-49CB0016469F}" type="pres">
      <dgm:prSet presAssocID="{BCB10340-D574-0E40-AC80-5BDA1A55A69F}" presName="childText" presStyleLbl="bgAcc1" presStyleIdx="4" presStyleCnt="9">
        <dgm:presLayoutVars>
          <dgm:bulletEnabled val="1"/>
        </dgm:presLayoutVars>
      </dgm:prSet>
      <dgm:spPr/>
    </dgm:pt>
    <dgm:pt modelId="{082CC5FA-7DC3-D842-8E11-1A282FC9C695}" type="pres">
      <dgm:prSet presAssocID="{C015993E-CC4F-9146-AAC3-92FB164427E2}" presName="Name13" presStyleLbl="parChTrans1D2" presStyleIdx="5" presStyleCnt="9"/>
      <dgm:spPr/>
    </dgm:pt>
    <dgm:pt modelId="{F658C48C-88AA-2F40-A008-18D13BF40AEA}" type="pres">
      <dgm:prSet presAssocID="{8396A62F-1D34-5B4A-A0CA-5D59F8D744A8}" presName="childText" presStyleLbl="bgAcc1" presStyleIdx="5" presStyleCnt="9">
        <dgm:presLayoutVars>
          <dgm:bulletEnabled val="1"/>
        </dgm:presLayoutVars>
      </dgm:prSet>
      <dgm:spPr/>
    </dgm:pt>
    <dgm:pt modelId="{2C1FFC58-686C-0146-B93F-00D2AD03C95F}" type="pres">
      <dgm:prSet presAssocID="{48A2D263-C021-F34B-AE54-4084A9DA3BDB}" presName="root" presStyleCnt="0"/>
      <dgm:spPr/>
    </dgm:pt>
    <dgm:pt modelId="{40E0D28B-E21E-B34A-A3AA-7CDEBE9ABB1B}" type="pres">
      <dgm:prSet presAssocID="{48A2D263-C021-F34B-AE54-4084A9DA3BDB}" presName="rootComposite" presStyleCnt="0"/>
      <dgm:spPr/>
    </dgm:pt>
    <dgm:pt modelId="{0D87EB5D-8B1B-9A4B-BC35-DF3489682169}" type="pres">
      <dgm:prSet presAssocID="{48A2D263-C021-F34B-AE54-4084A9DA3BDB}" presName="rootText" presStyleLbl="node1" presStyleIdx="2" presStyleCnt="3"/>
      <dgm:spPr/>
    </dgm:pt>
    <dgm:pt modelId="{2246F10C-D7A8-9946-8CB1-D4AB088660F5}" type="pres">
      <dgm:prSet presAssocID="{48A2D263-C021-F34B-AE54-4084A9DA3BDB}" presName="rootConnector" presStyleLbl="node1" presStyleIdx="2" presStyleCnt="3"/>
      <dgm:spPr/>
    </dgm:pt>
    <dgm:pt modelId="{43453547-F375-094F-AB9F-CEF2E39EEBAB}" type="pres">
      <dgm:prSet presAssocID="{48A2D263-C021-F34B-AE54-4084A9DA3BDB}" presName="childShape" presStyleCnt="0"/>
      <dgm:spPr/>
    </dgm:pt>
    <dgm:pt modelId="{CDEF8E9A-6659-D846-B4F3-55AF870A89E6}" type="pres">
      <dgm:prSet presAssocID="{13FD761B-5EED-F74C-8B18-E85453A578F1}" presName="Name13" presStyleLbl="parChTrans1D2" presStyleIdx="6" presStyleCnt="9"/>
      <dgm:spPr/>
    </dgm:pt>
    <dgm:pt modelId="{6BAD6BB8-A096-C549-AE80-86E080399C99}" type="pres">
      <dgm:prSet presAssocID="{9C9F78D2-A3A9-DD4F-832C-5610475A6857}" presName="childText" presStyleLbl="bgAcc1" presStyleIdx="6" presStyleCnt="9">
        <dgm:presLayoutVars>
          <dgm:bulletEnabled val="1"/>
        </dgm:presLayoutVars>
      </dgm:prSet>
      <dgm:spPr/>
    </dgm:pt>
    <dgm:pt modelId="{481F3670-1465-C74D-B26C-74B80F73A8E1}" type="pres">
      <dgm:prSet presAssocID="{9D6B5595-4FA3-344D-8C4C-F252A869BE71}" presName="Name13" presStyleLbl="parChTrans1D2" presStyleIdx="7" presStyleCnt="9"/>
      <dgm:spPr/>
    </dgm:pt>
    <dgm:pt modelId="{0E1232BE-023C-2944-81BC-C3D5DFF7F59C}" type="pres">
      <dgm:prSet presAssocID="{115C306F-FF8E-E64B-A4FC-23F190AF5774}" presName="childText" presStyleLbl="bgAcc1" presStyleIdx="7" presStyleCnt="9">
        <dgm:presLayoutVars>
          <dgm:bulletEnabled val="1"/>
        </dgm:presLayoutVars>
      </dgm:prSet>
      <dgm:spPr/>
    </dgm:pt>
    <dgm:pt modelId="{F689F142-E1FB-ED48-AE38-23B24D470CD2}" type="pres">
      <dgm:prSet presAssocID="{BE2B4C52-BFC5-4E4A-978A-313D2F0F3129}" presName="Name13" presStyleLbl="parChTrans1D2" presStyleIdx="8" presStyleCnt="9"/>
      <dgm:spPr/>
    </dgm:pt>
    <dgm:pt modelId="{39060B88-B797-7346-BDDE-4FDF0D940699}" type="pres">
      <dgm:prSet presAssocID="{1794633C-298D-C04E-9604-FA3AA0E7DB57}" presName="childText" presStyleLbl="bgAcc1" presStyleIdx="8" presStyleCnt="9">
        <dgm:presLayoutVars>
          <dgm:bulletEnabled val="1"/>
        </dgm:presLayoutVars>
      </dgm:prSet>
      <dgm:spPr/>
    </dgm:pt>
  </dgm:ptLst>
  <dgm:cxnLst>
    <dgm:cxn modelId="{8B98CE06-053E-B54B-9C43-79EBCB8AE90B}" type="presOf" srcId="{9D6B5595-4FA3-344D-8C4C-F252A869BE71}" destId="{481F3670-1465-C74D-B26C-74B80F73A8E1}" srcOrd="0" destOrd="0" presId="urn:microsoft.com/office/officeart/2005/8/layout/hierarchy3"/>
    <dgm:cxn modelId="{57C68511-21DD-894E-9CBB-E6E33BCD1148}" type="presOf" srcId="{8396A62F-1D34-5B4A-A0CA-5D59F8D744A8}" destId="{F658C48C-88AA-2F40-A008-18D13BF40AEA}" srcOrd="0" destOrd="0" presId="urn:microsoft.com/office/officeart/2005/8/layout/hierarchy3"/>
    <dgm:cxn modelId="{AD09D517-3E17-924E-B67D-FC2405FC5B09}" srcId="{3698DBFC-80E5-C549-932F-C5FEDC254553}" destId="{C8F981E2-4ED9-EE4A-88B2-5C8029C69185}" srcOrd="1" destOrd="0" parTransId="{23500004-86B6-634C-91D6-505326C82BB5}" sibTransId="{AEDE96BC-BEF9-D84E-973C-3660B6784897}"/>
    <dgm:cxn modelId="{AA22AE1F-B385-FC40-84A3-4CFC7F4B9494}" srcId="{A65EF526-518F-6C42-B7DB-4EF081A974CB}" destId="{66288BB7-7342-6A49-AFE0-A0E8C02EAD9C}" srcOrd="0" destOrd="0" parTransId="{28730AAE-FBA9-FC49-92F3-94D7888C6466}" sibTransId="{3374EC44-DB93-4846-8C6D-5B79D555BBB2}"/>
    <dgm:cxn modelId="{0A904222-AB81-A844-81DD-4EB94D60E1E6}" type="presOf" srcId="{625F330C-BDD8-0149-96EB-53DEB0A98DDB}" destId="{B7C4CD94-E576-824C-8622-F0639B043C69}" srcOrd="0" destOrd="0" presId="urn:microsoft.com/office/officeart/2005/8/layout/hierarchy3"/>
    <dgm:cxn modelId="{07EBB924-F2CA-114F-B3AB-0C6615D02042}" type="presOf" srcId="{5054D68F-B401-BA45-8F47-7EE244506FA2}" destId="{618780EB-0A70-7742-AEA1-8F873DA38530}" srcOrd="0" destOrd="0" presId="urn:microsoft.com/office/officeart/2005/8/layout/hierarchy3"/>
    <dgm:cxn modelId="{ED23A825-8DB4-2E43-829D-A65F3E2B1DA9}" type="presOf" srcId="{A65EF526-518F-6C42-B7DB-4EF081A974CB}" destId="{D927AA6A-B7D6-6B48-8CC6-6060A923576C}" srcOrd="0" destOrd="0" presId="urn:microsoft.com/office/officeart/2005/8/layout/hierarchy3"/>
    <dgm:cxn modelId="{4ED70126-5840-0049-AD69-277E7291F1AF}" type="presOf" srcId="{C015993E-CC4F-9146-AAC3-92FB164427E2}" destId="{082CC5FA-7DC3-D842-8E11-1A282FC9C695}" srcOrd="0" destOrd="0" presId="urn:microsoft.com/office/officeart/2005/8/layout/hierarchy3"/>
    <dgm:cxn modelId="{BD4DA236-E4DE-124D-89FD-13459133B0C9}" type="presOf" srcId="{AC8F3D3C-76FD-1040-81FB-5F70BB710264}" destId="{E7330D39-AFD9-9043-BBDC-EA1223D692A2}" srcOrd="0" destOrd="0" presId="urn:microsoft.com/office/officeart/2005/8/layout/hierarchy3"/>
    <dgm:cxn modelId="{9106BF36-9911-8846-9666-A425A152B9F4}" type="presOf" srcId="{1794633C-298D-C04E-9604-FA3AA0E7DB57}" destId="{39060B88-B797-7346-BDDE-4FDF0D940699}" srcOrd="0" destOrd="0" presId="urn:microsoft.com/office/officeart/2005/8/layout/hierarchy3"/>
    <dgm:cxn modelId="{6D426B3C-9FF1-5D4B-82CC-985D28D16CEC}" srcId="{3698DBFC-80E5-C549-932F-C5FEDC254553}" destId="{8AB5312D-9A1A-3346-8160-E750B80762BB}" srcOrd="0" destOrd="0" parTransId="{5054D68F-B401-BA45-8F47-7EE244506FA2}" sibTransId="{04577F05-7EAF-4246-8629-85B6F61F03AC}"/>
    <dgm:cxn modelId="{C3B9ED3F-8B2B-4144-ACA1-73D43D76FC87}" srcId="{48A2D263-C021-F34B-AE54-4084A9DA3BDB}" destId="{1794633C-298D-C04E-9604-FA3AA0E7DB57}" srcOrd="2" destOrd="0" parTransId="{BE2B4C52-BFC5-4E4A-978A-313D2F0F3129}" sibTransId="{48A61523-DE8B-FC4D-BC4D-2B96FAC9ECAE}"/>
    <dgm:cxn modelId="{5F6F124A-FB52-1A48-AD2F-E3C68886295B}" srcId="{A65EF526-518F-6C42-B7DB-4EF081A974CB}" destId="{BCB10340-D574-0E40-AC80-5BDA1A55A69F}" srcOrd="1" destOrd="0" parTransId="{625F330C-BDD8-0149-96EB-53DEB0A98DDB}" sibTransId="{50B240EA-9509-5646-8484-2AD2BD16752D}"/>
    <dgm:cxn modelId="{7500C65B-7B12-F24F-B7DB-DC63A054AECF}" srcId="{AC8F3D3C-76FD-1040-81FB-5F70BB710264}" destId="{A65EF526-518F-6C42-B7DB-4EF081A974CB}" srcOrd="1" destOrd="0" parTransId="{207940D5-D2CB-E54C-8A52-4830B30F692F}" sibTransId="{7F5C3D7C-7254-9645-A7D4-F1B99BA7CC13}"/>
    <dgm:cxn modelId="{7ECAB565-3F8E-DF4C-A38E-E55AB3E8F76B}" type="presOf" srcId="{8AB5312D-9A1A-3346-8160-E750B80762BB}" destId="{614957E5-113C-0444-B3CD-E065271B6BE6}" srcOrd="0" destOrd="0" presId="urn:microsoft.com/office/officeart/2005/8/layout/hierarchy3"/>
    <dgm:cxn modelId="{D39A416B-EC7D-4343-9D4A-F19917865760}" srcId="{3698DBFC-80E5-C549-932F-C5FEDC254553}" destId="{C3F0FB54-6914-3F4C-AFED-C872C446B16A}" srcOrd="2" destOrd="0" parTransId="{C5800A6A-2579-7E47-B6BF-FFCA4FFC8800}" sibTransId="{16FF7A8E-4255-6240-8AED-E76A7CAE8023}"/>
    <dgm:cxn modelId="{B4B1F079-44A6-7E4B-85D7-20C3BD2863A3}" type="presOf" srcId="{3698DBFC-80E5-C549-932F-C5FEDC254553}" destId="{B7074FDA-DE21-CF42-907E-C8D590D5A15C}" srcOrd="0" destOrd="0" presId="urn:microsoft.com/office/officeart/2005/8/layout/hierarchy3"/>
    <dgm:cxn modelId="{B6E0EE8A-8523-CC40-857E-C3ECA2924FAB}" srcId="{48A2D263-C021-F34B-AE54-4084A9DA3BDB}" destId="{9C9F78D2-A3A9-DD4F-832C-5610475A6857}" srcOrd="0" destOrd="0" parTransId="{13FD761B-5EED-F74C-8B18-E85453A578F1}" sibTransId="{3BA52E8F-4677-F744-874A-D2B4D6AACA8D}"/>
    <dgm:cxn modelId="{37A8748C-F49C-A347-A610-1906B8EE50BE}" type="presOf" srcId="{9C9F78D2-A3A9-DD4F-832C-5610475A6857}" destId="{6BAD6BB8-A096-C549-AE80-86E080399C99}" srcOrd="0" destOrd="0" presId="urn:microsoft.com/office/officeart/2005/8/layout/hierarchy3"/>
    <dgm:cxn modelId="{18D0348F-7A9A-6E41-AA87-1A194DE1401B}" type="presOf" srcId="{48A2D263-C021-F34B-AE54-4084A9DA3BDB}" destId="{0D87EB5D-8B1B-9A4B-BC35-DF3489682169}" srcOrd="0" destOrd="0" presId="urn:microsoft.com/office/officeart/2005/8/layout/hierarchy3"/>
    <dgm:cxn modelId="{AC362092-DADF-CA40-B04B-F98453ABD4D9}" type="presOf" srcId="{3698DBFC-80E5-C549-932F-C5FEDC254553}" destId="{6C4A5858-208B-A846-BE1D-675FEDDFA06D}" srcOrd="1" destOrd="0" presId="urn:microsoft.com/office/officeart/2005/8/layout/hierarchy3"/>
    <dgm:cxn modelId="{D8E7899D-97AC-2F49-9A6D-C181F4117C47}" type="presOf" srcId="{C5800A6A-2579-7E47-B6BF-FFCA4FFC8800}" destId="{8C5AC811-B717-594A-B137-B8C8F93F9D4D}" srcOrd="0" destOrd="0" presId="urn:microsoft.com/office/officeart/2005/8/layout/hierarchy3"/>
    <dgm:cxn modelId="{9CECC7A0-007E-E249-AF11-1A965EC32B96}" type="presOf" srcId="{48A2D263-C021-F34B-AE54-4084A9DA3BDB}" destId="{2246F10C-D7A8-9946-8CB1-D4AB088660F5}" srcOrd="1" destOrd="0" presId="urn:microsoft.com/office/officeart/2005/8/layout/hierarchy3"/>
    <dgm:cxn modelId="{A45C96A6-1DEB-D844-879B-0FD66A6B8E97}" srcId="{A65EF526-518F-6C42-B7DB-4EF081A974CB}" destId="{8396A62F-1D34-5B4A-A0CA-5D59F8D744A8}" srcOrd="2" destOrd="0" parTransId="{C015993E-CC4F-9146-AAC3-92FB164427E2}" sibTransId="{EC6C185A-C939-2E45-AA6A-82C78F440DB7}"/>
    <dgm:cxn modelId="{F07098A7-B5F1-9741-B77F-02FA44DF7DAE}" type="presOf" srcId="{13FD761B-5EED-F74C-8B18-E85453A578F1}" destId="{CDEF8E9A-6659-D846-B4F3-55AF870A89E6}" srcOrd="0" destOrd="0" presId="urn:microsoft.com/office/officeart/2005/8/layout/hierarchy3"/>
    <dgm:cxn modelId="{D4DEACAD-AE7D-A54E-B99D-10E038AAB493}" type="presOf" srcId="{A65EF526-518F-6C42-B7DB-4EF081A974CB}" destId="{A7EC2D6D-DF27-5048-88DD-DDEA8684A0F7}" srcOrd="1" destOrd="0" presId="urn:microsoft.com/office/officeart/2005/8/layout/hierarchy3"/>
    <dgm:cxn modelId="{16CAC5AF-3C13-0F4F-A17A-7124B8880693}" type="presOf" srcId="{28730AAE-FBA9-FC49-92F3-94D7888C6466}" destId="{67B65574-27E8-F940-B002-EB806C4A9BA8}" srcOrd="0" destOrd="0" presId="urn:microsoft.com/office/officeart/2005/8/layout/hierarchy3"/>
    <dgm:cxn modelId="{BE09BBB1-293A-914F-9D24-547C4245F0BA}" type="presOf" srcId="{BE2B4C52-BFC5-4E4A-978A-313D2F0F3129}" destId="{F689F142-E1FB-ED48-AE38-23B24D470CD2}" srcOrd="0" destOrd="0" presId="urn:microsoft.com/office/officeart/2005/8/layout/hierarchy3"/>
    <dgm:cxn modelId="{E7558AB7-CB82-1440-9D54-E86749F61851}" type="presOf" srcId="{BCB10340-D574-0E40-AC80-5BDA1A55A69F}" destId="{861C8C85-A75C-ED40-93EC-49CB0016469F}" srcOrd="0" destOrd="0" presId="urn:microsoft.com/office/officeart/2005/8/layout/hierarchy3"/>
    <dgm:cxn modelId="{49D166C3-CBE3-7648-973C-96D331B27CC4}" type="presOf" srcId="{115C306F-FF8E-E64B-A4FC-23F190AF5774}" destId="{0E1232BE-023C-2944-81BC-C3D5DFF7F59C}" srcOrd="0" destOrd="0" presId="urn:microsoft.com/office/officeart/2005/8/layout/hierarchy3"/>
    <dgm:cxn modelId="{745414C9-5A22-2044-83F0-54058AFF5DD1}" srcId="{AC8F3D3C-76FD-1040-81FB-5F70BB710264}" destId="{3698DBFC-80E5-C549-932F-C5FEDC254553}" srcOrd="0" destOrd="0" parTransId="{27C363AF-22C7-DA4D-9513-849DF541011D}" sibTransId="{CE575B18-FAE5-0E43-9BFA-589CCC4BBAD0}"/>
    <dgm:cxn modelId="{430BACCA-39E1-C644-81D5-2B1174F4778A}" type="presOf" srcId="{C8F981E2-4ED9-EE4A-88B2-5C8029C69185}" destId="{68CBCF98-C228-7747-BA5F-49618D3A3E63}" srcOrd="0" destOrd="0" presId="urn:microsoft.com/office/officeart/2005/8/layout/hierarchy3"/>
    <dgm:cxn modelId="{E6355BCC-54BC-934D-A560-93587E99AE17}" type="presOf" srcId="{66288BB7-7342-6A49-AFE0-A0E8C02EAD9C}" destId="{32E40411-5160-EC42-9FAB-611A1F0CC74C}" srcOrd="0" destOrd="0" presId="urn:microsoft.com/office/officeart/2005/8/layout/hierarchy3"/>
    <dgm:cxn modelId="{E11CA2DC-15C6-F14B-B59B-3033C1E6E2A9}" srcId="{AC8F3D3C-76FD-1040-81FB-5F70BB710264}" destId="{48A2D263-C021-F34B-AE54-4084A9DA3BDB}" srcOrd="2" destOrd="0" parTransId="{141A91B5-A7A3-814F-86F6-C537D05EF2EF}" sibTransId="{405DF8AE-A9F5-DB47-9382-DBC1A8007101}"/>
    <dgm:cxn modelId="{1C90C6E2-A143-BC4E-9D7B-E4D35DB043DD}" type="presOf" srcId="{23500004-86B6-634C-91D6-505326C82BB5}" destId="{A8DE44B4-D123-1549-A2CA-FD677C913D7C}" srcOrd="0" destOrd="0" presId="urn:microsoft.com/office/officeart/2005/8/layout/hierarchy3"/>
    <dgm:cxn modelId="{F46B05ED-BEE3-3C4D-A758-C2CE73E60C22}" type="presOf" srcId="{C3F0FB54-6914-3F4C-AFED-C872C446B16A}" destId="{BDCF0B6E-914D-3341-A727-05986947885A}" srcOrd="0" destOrd="0" presId="urn:microsoft.com/office/officeart/2005/8/layout/hierarchy3"/>
    <dgm:cxn modelId="{EC77C2F9-C432-294E-9E79-9EE6BFD693A0}" srcId="{48A2D263-C021-F34B-AE54-4084A9DA3BDB}" destId="{115C306F-FF8E-E64B-A4FC-23F190AF5774}" srcOrd="1" destOrd="0" parTransId="{9D6B5595-4FA3-344D-8C4C-F252A869BE71}" sibTransId="{A5F5D44C-5F06-1C40-8D9C-62C4971C7ACE}"/>
    <dgm:cxn modelId="{FAB96531-ACE4-F84E-A98C-68CA80ECC097}" type="presParOf" srcId="{E7330D39-AFD9-9043-BBDC-EA1223D692A2}" destId="{DA59AE49-58F3-4949-BA8B-91FE8FB366AF}" srcOrd="0" destOrd="0" presId="urn:microsoft.com/office/officeart/2005/8/layout/hierarchy3"/>
    <dgm:cxn modelId="{7F7A6A8B-A40E-674A-9620-342CF96EA66F}" type="presParOf" srcId="{DA59AE49-58F3-4949-BA8B-91FE8FB366AF}" destId="{50F52C00-71C9-FF4D-AE01-3052CA1885C8}" srcOrd="0" destOrd="0" presId="urn:microsoft.com/office/officeart/2005/8/layout/hierarchy3"/>
    <dgm:cxn modelId="{21F21344-8E7F-6E46-BC53-4A3D96DF6C0E}" type="presParOf" srcId="{50F52C00-71C9-FF4D-AE01-3052CA1885C8}" destId="{B7074FDA-DE21-CF42-907E-C8D590D5A15C}" srcOrd="0" destOrd="0" presId="urn:microsoft.com/office/officeart/2005/8/layout/hierarchy3"/>
    <dgm:cxn modelId="{693F0B10-8C83-4045-8A83-E1D515C83B83}" type="presParOf" srcId="{50F52C00-71C9-FF4D-AE01-3052CA1885C8}" destId="{6C4A5858-208B-A846-BE1D-675FEDDFA06D}" srcOrd="1" destOrd="0" presId="urn:microsoft.com/office/officeart/2005/8/layout/hierarchy3"/>
    <dgm:cxn modelId="{B6C5873A-EB2E-BA4C-A14E-E3A7DB4D6318}" type="presParOf" srcId="{DA59AE49-58F3-4949-BA8B-91FE8FB366AF}" destId="{E49D2CCD-68AE-5844-B102-3BAD241586C3}" srcOrd="1" destOrd="0" presId="urn:microsoft.com/office/officeart/2005/8/layout/hierarchy3"/>
    <dgm:cxn modelId="{1BE125D9-E18D-E842-A0AB-57F90B4466F3}" type="presParOf" srcId="{E49D2CCD-68AE-5844-B102-3BAD241586C3}" destId="{618780EB-0A70-7742-AEA1-8F873DA38530}" srcOrd="0" destOrd="0" presId="urn:microsoft.com/office/officeart/2005/8/layout/hierarchy3"/>
    <dgm:cxn modelId="{2DE04A37-5CB1-6040-909E-4A096A301753}" type="presParOf" srcId="{E49D2CCD-68AE-5844-B102-3BAD241586C3}" destId="{614957E5-113C-0444-B3CD-E065271B6BE6}" srcOrd="1" destOrd="0" presId="urn:microsoft.com/office/officeart/2005/8/layout/hierarchy3"/>
    <dgm:cxn modelId="{3D61959A-D212-8347-99A4-F811C954CD86}" type="presParOf" srcId="{E49D2CCD-68AE-5844-B102-3BAD241586C3}" destId="{A8DE44B4-D123-1549-A2CA-FD677C913D7C}" srcOrd="2" destOrd="0" presId="urn:microsoft.com/office/officeart/2005/8/layout/hierarchy3"/>
    <dgm:cxn modelId="{33AA5A4C-1AF7-9145-8507-1A6A32431B25}" type="presParOf" srcId="{E49D2CCD-68AE-5844-B102-3BAD241586C3}" destId="{68CBCF98-C228-7747-BA5F-49618D3A3E63}" srcOrd="3" destOrd="0" presId="urn:microsoft.com/office/officeart/2005/8/layout/hierarchy3"/>
    <dgm:cxn modelId="{BBF36D78-EAF0-D44A-979F-B07B382703A1}" type="presParOf" srcId="{E49D2CCD-68AE-5844-B102-3BAD241586C3}" destId="{8C5AC811-B717-594A-B137-B8C8F93F9D4D}" srcOrd="4" destOrd="0" presId="urn:microsoft.com/office/officeart/2005/8/layout/hierarchy3"/>
    <dgm:cxn modelId="{CAAAE848-B3DB-164B-8923-A50C99DE2041}" type="presParOf" srcId="{E49D2CCD-68AE-5844-B102-3BAD241586C3}" destId="{BDCF0B6E-914D-3341-A727-05986947885A}" srcOrd="5" destOrd="0" presId="urn:microsoft.com/office/officeart/2005/8/layout/hierarchy3"/>
    <dgm:cxn modelId="{A00179DD-F866-A945-8A1F-8351F3BF89F6}" type="presParOf" srcId="{E7330D39-AFD9-9043-BBDC-EA1223D692A2}" destId="{D620640B-72AB-6444-A080-CC85C44E0095}" srcOrd="1" destOrd="0" presId="urn:microsoft.com/office/officeart/2005/8/layout/hierarchy3"/>
    <dgm:cxn modelId="{412863FD-0EE1-A649-8C21-1DA515DF0680}" type="presParOf" srcId="{D620640B-72AB-6444-A080-CC85C44E0095}" destId="{2BBB05FD-B2C4-934E-BBEF-16DD55B05A81}" srcOrd="0" destOrd="0" presId="urn:microsoft.com/office/officeart/2005/8/layout/hierarchy3"/>
    <dgm:cxn modelId="{40BA332D-5C8D-9847-9969-537A99839F3A}" type="presParOf" srcId="{2BBB05FD-B2C4-934E-BBEF-16DD55B05A81}" destId="{D927AA6A-B7D6-6B48-8CC6-6060A923576C}" srcOrd="0" destOrd="0" presId="urn:microsoft.com/office/officeart/2005/8/layout/hierarchy3"/>
    <dgm:cxn modelId="{4E5074C0-B5D6-5740-824A-84F08EFD3B3A}" type="presParOf" srcId="{2BBB05FD-B2C4-934E-BBEF-16DD55B05A81}" destId="{A7EC2D6D-DF27-5048-88DD-DDEA8684A0F7}" srcOrd="1" destOrd="0" presId="urn:microsoft.com/office/officeart/2005/8/layout/hierarchy3"/>
    <dgm:cxn modelId="{21BF1429-B576-BA4B-9EB9-028B4313259E}" type="presParOf" srcId="{D620640B-72AB-6444-A080-CC85C44E0095}" destId="{1364764A-23AE-A84D-B8CD-E375A7EDBB1F}" srcOrd="1" destOrd="0" presId="urn:microsoft.com/office/officeart/2005/8/layout/hierarchy3"/>
    <dgm:cxn modelId="{58B6451D-CFDC-F842-93A3-F9582B005E77}" type="presParOf" srcId="{1364764A-23AE-A84D-B8CD-E375A7EDBB1F}" destId="{67B65574-27E8-F940-B002-EB806C4A9BA8}" srcOrd="0" destOrd="0" presId="urn:microsoft.com/office/officeart/2005/8/layout/hierarchy3"/>
    <dgm:cxn modelId="{388706B7-9C07-0547-AEF1-FFBB0120E53B}" type="presParOf" srcId="{1364764A-23AE-A84D-B8CD-E375A7EDBB1F}" destId="{32E40411-5160-EC42-9FAB-611A1F0CC74C}" srcOrd="1" destOrd="0" presId="urn:microsoft.com/office/officeart/2005/8/layout/hierarchy3"/>
    <dgm:cxn modelId="{2D87796C-DC98-B84D-AC86-69E93DC6FA1E}" type="presParOf" srcId="{1364764A-23AE-A84D-B8CD-E375A7EDBB1F}" destId="{B7C4CD94-E576-824C-8622-F0639B043C69}" srcOrd="2" destOrd="0" presId="urn:microsoft.com/office/officeart/2005/8/layout/hierarchy3"/>
    <dgm:cxn modelId="{5AE578F4-3273-6A43-AB0D-308E8225E394}" type="presParOf" srcId="{1364764A-23AE-A84D-B8CD-E375A7EDBB1F}" destId="{861C8C85-A75C-ED40-93EC-49CB0016469F}" srcOrd="3" destOrd="0" presId="urn:microsoft.com/office/officeart/2005/8/layout/hierarchy3"/>
    <dgm:cxn modelId="{FE474861-9A30-5A41-9EE3-38C3E3C40340}" type="presParOf" srcId="{1364764A-23AE-A84D-B8CD-E375A7EDBB1F}" destId="{082CC5FA-7DC3-D842-8E11-1A282FC9C695}" srcOrd="4" destOrd="0" presId="urn:microsoft.com/office/officeart/2005/8/layout/hierarchy3"/>
    <dgm:cxn modelId="{F012957B-59EB-AD4E-A669-F35B277A1B5D}" type="presParOf" srcId="{1364764A-23AE-A84D-B8CD-E375A7EDBB1F}" destId="{F658C48C-88AA-2F40-A008-18D13BF40AEA}" srcOrd="5" destOrd="0" presId="urn:microsoft.com/office/officeart/2005/8/layout/hierarchy3"/>
    <dgm:cxn modelId="{28969FE0-6223-6645-9B95-1C594DB123DF}" type="presParOf" srcId="{E7330D39-AFD9-9043-BBDC-EA1223D692A2}" destId="{2C1FFC58-686C-0146-B93F-00D2AD03C95F}" srcOrd="2" destOrd="0" presId="urn:microsoft.com/office/officeart/2005/8/layout/hierarchy3"/>
    <dgm:cxn modelId="{80003E73-0DAD-924B-8FED-7A8FEBCF19AA}" type="presParOf" srcId="{2C1FFC58-686C-0146-B93F-00D2AD03C95F}" destId="{40E0D28B-E21E-B34A-A3AA-7CDEBE9ABB1B}" srcOrd="0" destOrd="0" presId="urn:microsoft.com/office/officeart/2005/8/layout/hierarchy3"/>
    <dgm:cxn modelId="{2A5299FF-4585-C34C-8A52-AA4177607A2A}" type="presParOf" srcId="{40E0D28B-E21E-B34A-A3AA-7CDEBE9ABB1B}" destId="{0D87EB5D-8B1B-9A4B-BC35-DF3489682169}" srcOrd="0" destOrd="0" presId="urn:microsoft.com/office/officeart/2005/8/layout/hierarchy3"/>
    <dgm:cxn modelId="{C1AD3294-7286-0947-A703-08A1907E263B}" type="presParOf" srcId="{40E0D28B-E21E-B34A-A3AA-7CDEBE9ABB1B}" destId="{2246F10C-D7A8-9946-8CB1-D4AB088660F5}" srcOrd="1" destOrd="0" presId="urn:microsoft.com/office/officeart/2005/8/layout/hierarchy3"/>
    <dgm:cxn modelId="{19C8A9F7-2D2D-E747-A8DD-8887F8C494DC}" type="presParOf" srcId="{2C1FFC58-686C-0146-B93F-00D2AD03C95F}" destId="{43453547-F375-094F-AB9F-CEF2E39EEBAB}" srcOrd="1" destOrd="0" presId="urn:microsoft.com/office/officeart/2005/8/layout/hierarchy3"/>
    <dgm:cxn modelId="{13E0D78D-99E9-3D49-9C16-C2C3690BE802}" type="presParOf" srcId="{43453547-F375-094F-AB9F-CEF2E39EEBAB}" destId="{CDEF8E9A-6659-D846-B4F3-55AF870A89E6}" srcOrd="0" destOrd="0" presId="urn:microsoft.com/office/officeart/2005/8/layout/hierarchy3"/>
    <dgm:cxn modelId="{C156617C-2467-1C41-8A2A-8816133AE481}" type="presParOf" srcId="{43453547-F375-094F-AB9F-CEF2E39EEBAB}" destId="{6BAD6BB8-A096-C549-AE80-86E080399C99}" srcOrd="1" destOrd="0" presId="urn:microsoft.com/office/officeart/2005/8/layout/hierarchy3"/>
    <dgm:cxn modelId="{F9878D7E-E23F-6A4B-B129-C7D785447D2F}" type="presParOf" srcId="{43453547-F375-094F-AB9F-CEF2E39EEBAB}" destId="{481F3670-1465-C74D-B26C-74B80F73A8E1}" srcOrd="2" destOrd="0" presId="urn:microsoft.com/office/officeart/2005/8/layout/hierarchy3"/>
    <dgm:cxn modelId="{F2905847-2AD5-2948-B83D-EAACD29DCF7B}" type="presParOf" srcId="{43453547-F375-094F-AB9F-CEF2E39EEBAB}" destId="{0E1232BE-023C-2944-81BC-C3D5DFF7F59C}" srcOrd="3" destOrd="0" presId="urn:microsoft.com/office/officeart/2005/8/layout/hierarchy3"/>
    <dgm:cxn modelId="{54931B85-84BA-534C-83FD-A5B06A0D2B8E}" type="presParOf" srcId="{43453547-F375-094F-AB9F-CEF2E39EEBAB}" destId="{F689F142-E1FB-ED48-AE38-23B24D470CD2}" srcOrd="4" destOrd="0" presId="urn:microsoft.com/office/officeart/2005/8/layout/hierarchy3"/>
    <dgm:cxn modelId="{A8F6ABD1-B6A1-E94D-BCAA-B01AFF7ED621}" type="presParOf" srcId="{43453547-F375-094F-AB9F-CEF2E39EEBAB}" destId="{39060B88-B797-7346-BDDE-4FDF0D940699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E972B2-38B5-1B4C-B810-9CB6AEF5410D}">
      <dsp:nvSpPr>
        <dsp:cNvPr id="0" name=""/>
        <dsp:cNvSpPr/>
      </dsp:nvSpPr>
      <dsp:spPr>
        <a:xfrm>
          <a:off x="3142" y="759895"/>
          <a:ext cx="3063820" cy="122552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8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基础信息</a:t>
          </a:r>
        </a:p>
      </dsp:txBody>
      <dsp:txXfrm>
        <a:off x="3142" y="759895"/>
        <a:ext cx="3063820" cy="1225528"/>
      </dsp:txXfrm>
    </dsp:sp>
    <dsp:sp modelId="{C1E1C797-9148-BD42-9121-6DFB1DCD67F6}">
      <dsp:nvSpPr>
        <dsp:cNvPr id="0" name=""/>
        <dsp:cNvSpPr/>
      </dsp:nvSpPr>
      <dsp:spPr>
        <a:xfrm>
          <a:off x="3142" y="1985423"/>
          <a:ext cx="3063820" cy="2854800"/>
        </a:xfrm>
        <a:prstGeom prst="rect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姓名：黄文武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出生年月：</a:t>
          </a:r>
          <a:r>
            <a:rPr lang="en-US" altLang="zh-CN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1998.6</a:t>
          </a:r>
          <a:endParaRPr lang="zh-CN" altLang="en-US" sz="1600" kern="12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毕业日期：</a:t>
          </a:r>
          <a:r>
            <a:rPr lang="en-US" altLang="zh-CN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2022.6</a:t>
          </a:r>
          <a:endParaRPr lang="zh-CN" altLang="en-US" sz="1600" kern="12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毕业院校：华中师范大学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专业：应用统计学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学历：硕士</a:t>
          </a:r>
        </a:p>
      </dsp:txBody>
      <dsp:txXfrm>
        <a:off x="3142" y="1985423"/>
        <a:ext cx="3063820" cy="2854800"/>
      </dsp:txXfrm>
    </dsp:sp>
    <dsp:sp modelId="{C3089EA7-D3B8-9141-BA26-728509315360}">
      <dsp:nvSpPr>
        <dsp:cNvPr id="0" name=""/>
        <dsp:cNvSpPr/>
      </dsp:nvSpPr>
      <dsp:spPr>
        <a:xfrm>
          <a:off x="3495897" y="759895"/>
          <a:ext cx="3063820" cy="122552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8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工作经历</a:t>
          </a:r>
        </a:p>
      </dsp:txBody>
      <dsp:txXfrm>
        <a:off x="3495897" y="759895"/>
        <a:ext cx="3063820" cy="1225528"/>
      </dsp:txXfrm>
    </dsp:sp>
    <dsp:sp modelId="{783FBF5C-132F-9143-889A-45C9E1FE7725}">
      <dsp:nvSpPr>
        <dsp:cNvPr id="0" name=""/>
        <dsp:cNvSpPr/>
      </dsp:nvSpPr>
      <dsp:spPr>
        <a:xfrm>
          <a:off x="3495897" y="1985423"/>
          <a:ext cx="3063820" cy="2854800"/>
        </a:xfrm>
        <a:prstGeom prst="rect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同花顺：</a:t>
          </a:r>
          <a:r>
            <a:rPr lang="en-US" altLang="zh-CN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2022.7~2025.7</a:t>
          </a:r>
          <a:endParaRPr lang="zh-CN" altLang="en-US" sz="1600" b="1" kern="12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高德：</a:t>
          </a:r>
          <a:r>
            <a:rPr lang="en-US" altLang="zh-CN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2025.8.7</a:t>
          </a:r>
          <a:r>
            <a:rPr lang="zh-CN" altLang="en-U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～至今</a:t>
          </a:r>
        </a:p>
      </dsp:txBody>
      <dsp:txXfrm>
        <a:off x="3495897" y="1985423"/>
        <a:ext cx="3063820" cy="2854800"/>
      </dsp:txXfrm>
    </dsp:sp>
    <dsp:sp modelId="{CEBD3DFB-31B3-4A49-A53B-679B13C3CD53}">
      <dsp:nvSpPr>
        <dsp:cNvPr id="0" name=""/>
        <dsp:cNvSpPr/>
      </dsp:nvSpPr>
      <dsp:spPr>
        <a:xfrm>
          <a:off x="6988652" y="759895"/>
          <a:ext cx="3063820" cy="122552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8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岗位信息</a:t>
          </a:r>
        </a:p>
      </dsp:txBody>
      <dsp:txXfrm>
        <a:off x="6988652" y="759895"/>
        <a:ext cx="3063820" cy="1225528"/>
      </dsp:txXfrm>
    </dsp:sp>
    <dsp:sp modelId="{97C71A1D-0B97-9147-9AB2-121C8C957688}">
      <dsp:nvSpPr>
        <dsp:cNvPr id="0" name=""/>
        <dsp:cNvSpPr/>
      </dsp:nvSpPr>
      <dsp:spPr>
        <a:xfrm>
          <a:off x="6988652" y="1985423"/>
          <a:ext cx="3063820" cy="2854800"/>
        </a:xfrm>
        <a:prstGeom prst="rect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岗位：业务分析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HRG</a:t>
          </a:r>
          <a:r>
            <a:rPr lang="zh-CN" altLang="en-U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：连柏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主管：丝路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师姐：孙丽（飘有）</a:t>
          </a:r>
        </a:p>
      </dsp:txBody>
      <dsp:txXfrm>
        <a:off x="6988652" y="1985423"/>
        <a:ext cx="3063820" cy="28548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CC4CE9-FDCA-4B4D-BC18-1D01A78C9965}">
      <dsp:nvSpPr>
        <dsp:cNvPr id="0" name=""/>
        <dsp:cNvSpPr/>
      </dsp:nvSpPr>
      <dsp:spPr>
        <a:xfrm>
          <a:off x="0" y="0"/>
          <a:ext cx="3797985" cy="317197"/>
        </a:xfrm>
        <a:prstGeom prst="homePlate">
          <a:avLst/>
        </a:prstGeom>
        <a:solidFill>
          <a:schemeClr val="accent5"/>
        </a:solidFill>
        <a:ln w="1270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400" b="1" kern="1200" dirty="0"/>
            <a:t>8</a:t>
          </a:r>
          <a:r>
            <a:rPr lang="zh-CN" altLang="en-US" sz="1400" b="1" kern="1200" dirty="0"/>
            <a:t>月（入职</a:t>
          </a:r>
          <a:r>
            <a:rPr lang="en-US" altLang="zh-CN" sz="1400" b="1" kern="1200" dirty="0"/>
            <a:t>1</a:t>
          </a:r>
          <a:r>
            <a:rPr lang="zh-CN" altLang="en-US" sz="1400" b="1" kern="1200" dirty="0"/>
            <a:t>月）</a:t>
          </a:r>
        </a:p>
      </dsp:txBody>
      <dsp:txXfrm>
        <a:off x="0" y="0"/>
        <a:ext cx="3718686" cy="317197"/>
      </dsp:txXfrm>
    </dsp:sp>
    <dsp:sp modelId="{8A4B99B1-3786-4699-BCF3-F66297C48EF1}">
      <dsp:nvSpPr>
        <dsp:cNvPr id="0" name=""/>
        <dsp:cNvSpPr/>
      </dsp:nvSpPr>
      <dsp:spPr>
        <a:xfrm>
          <a:off x="3040359" y="0"/>
          <a:ext cx="3815303" cy="317197"/>
        </a:xfrm>
        <a:prstGeom prst="chevron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400" b="1" kern="1200" dirty="0"/>
            <a:t>9</a:t>
          </a:r>
          <a:r>
            <a:rPr lang="zh-CN" altLang="en-US" sz="1400" b="1" kern="1200" dirty="0"/>
            <a:t>月（入职</a:t>
          </a:r>
          <a:r>
            <a:rPr lang="en-US" altLang="zh-CN" sz="1400" b="1" kern="1200" dirty="0"/>
            <a:t>2</a:t>
          </a:r>
          <a:r>
            <a:rPr lang="zh-CN" altLang="en-US" sz="1400" b="1" kern="1200" dirty="0"/>
            <a:t>月）</a:t>
          </a:r>
        </a:p>
      </dsp:txBody>
      <dsp:txXfrm>
        <a:off x="3198958" y="0"/>
        <a:ext cx="3498106" cy="317197"/>
      </dsp:txXfrm>
    </dsp:sp>
    <dsp:sp modelId="{2907A934-0BCE-4251-8DEE-98A2FE007A81}">
      <dsp:nvSpPr>
        <dsp:cNvPr id="0" name=""/>
        <dsp:cNvSpPr/>
      </dsp:nvSpPr>
      <dsp:spPr>
        <a:xfrm>
          <a:off x="6096065" y="0"/>
          <a:ext cx="3797985" cy="317197"/>
        </a:xfrm>
        <a:prstGeom prst="chevron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400" b="1" kern="1200" dirty="0"/>
            <a:t>10</a:t>
          </a:r>
          <a:r>
            <a:rPr lang="zh-CN" altLang="en-US" sz="1400" b="1" kern="1200" dirty="0"/>
            <a:t>月</a:t>
          </a:r>
          <a:r>
            <a:rPr lang="en-US" altLang="zh-CN" sz="1400" b="1" kern="1200" dirty="0"/>
            <a:t>-</a:t>
          </a:r>
          <a:r>
            <a:rPr lang="zh-CN" altLang="en-US" sz="1400" b="1" kern="1200" dirty="0"/>
            <a:t>至今（入职</a:t>
          </a:r>
          <a:r>
            <a:rPr lang="en-US" altLang="zh-CN" sz="1400" b="1" kern="1200" dirty="0"/>
            <a:t>3</a:t>
          </a:r>
          <a:r>
            <a:rPr lang="zh-CN" altLang="en-US" sz="1400" b="1" kern="1200" dirty="0"/>
            <a:t>月</a:t>
          </a:r>
          <a:r>
            <a:rPr lang="en-US" altLang="zh-CN" sz="1400" b="1" kern="1200" dirty="0"/>
            <a:t>+</a:t>
          </a:r>
          <a:r>
            <a:rPr lang="zh-CN" altLang="en-US" sz="1400" b="1" kern="1200" dirty="0"/>
            <a:t>）</a:t>
          </a:r>
        </a:p>
      </dsp:txBody>
      <dsp:txXfrm>
        <a:off x="6254664" y="0"/>
        <a:ext cx="3480788" cy="31719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46FBE4-F896-8640-AD52-BC69D652D55B}">
      <dsp:nvSpPr>
        <dsp:cNvPr id="0" name=""/>
        <dsp:cNvSpPr/>
      </dsp:nvSpPr>
      <dsp:spPr>
        <a:xfrm>
          <a:off x="0" y="211184"/>
          <a:ext cx="1089266" cy="302399"/>
        </a:xfrm>
        <a:prstGeom prst="rect">
          <a:avLst/>
        </a:prstGeom>
        <a:solidFill>
          <a:schemeClr val="dk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9B6C47-5D8F-3843-8C0C-6C7694D63580}">
      <dsp:nvSpPr>
        <dsp:cNvPr id="0" name=""/>
        <dsp:cNvSpPr/>
      </dsp:nvSpPr>
      <dsp:spPr>
        <a:xfrm>
          <a:off x="11150" y="15944"/>
          <a:ext cx="762486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820" tIns="0" rIns="28820" bIns="0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50" kern="1200" dirty="0">
              <a:solidFill>
                <a:srgbClr val="7030A0"/>
              </a:solidFill>
              <a:latin typeface="Microsoft YaHei" panose="020B0503020204020204" pitchFamily="34" charset="-122"/>
              <a:ea typeface="Microsoft YaHei" panose="020B0503020204020204" pitchFamily="34" charset="-122"/>
            </a:rPr>
            <a:t>效果广告</a:t>
          </a:r>
        </a:p>
      </dsp:txBody>
      <dsp:txXfrm>
        <a:off x="28443" y="33237"/>
        <a:ext cx="727900" cy="319654"/>
      </dsp:txXfrm>
    </dsp:sp>
    <dsp:sp modelId="{70D20C15-DDB0-F240-B5BC-5E44CB85CDED}">
      <dsp:nvSpPr>
        <dsp:cNvPr id="0" name=""/>
        <dsp:cNvSpPr/>
      </dsp:nvSpPr>
      <dsp:spPr>
        <a:xfrm>
          <a:off x="0" y="755504"/>
          <a:ext cx="1089266" cy="302399"/>
        </a:xfrm>
        <a:prstGeom prst="rect">
          <a:avLst/>
        </a:prstGeom>
        <a:solidFill>
          <a:schemeClr val="dk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DFC92B-AA81-7C47-8516-EDE8B1D50691}">
      <dsp:nvSpPr>
        <dsp:cNvPr id="0" name=""/>
        <dsp:cNvSpPr/>
      </dsp:nvSpPr>
      <dsp:spPr>
        <a:xfrm>
          <a:off x="0" y="587013"/>
          <a:ext cx="762486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820" tIns="0" rIns="28820" bIns="0" numCol="1" spcCol="1270" anchor="ctr" anchorCtr="0">
          <a:noAutofit/>
        </a:bodyPr>
        <a:lstStyle/>
        <a:p>
          <a:pPr marL="285750" lvl="0" indent="-285750" algn="l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kumimoji="1" lang="zh-CN" altLang="en-US" sz="1050" kern="1200" dirty="0">
              <a:solidFill>
                <a:schemeClr val="accent6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签约年费</a:t>
          </a:r>
        </a:p>
      </dsp:txBody>
      <dsp:txXfrm>
        <a:off x="17293" y="604306"/>
        <a:ext cx="727900" cy="319654"/>
      </dsp:txXfrm>
    </dsp:sp>
    <dsp:sp modelId="{6B28A158-DA81-F74C-879B-A1AF53051B57}">
      <dsp:nvSpPr>
        <dsp:cNvPr id="0" name=""/>
        <dsp:cNvSpPr/>
      </dsp:nvSpPr>
      <dsp:spPr>
        <a:xfrm>
          <a:off x="0" y="1299824"/>
          <a:ext cx="1089266" cy="302399"/>
        </a:xfrm>
        <a:prstGeom prst="rect">
          <a:avLst/>
        </a:prstGeom>
        <a:solidFill>
          <a:schemeClr val="dk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611B1D-C71C-D646-A1B2-1008B0242BB1}">
      <dsp:nvSpPr>
        <dsp:cNvPr id="0" name=""/>
        <dsp:cNvSpPr/>
      </dsp:nvSpPr>
      <dsp:spPr>
        <a:xfrm>
          <a:off x="0" y="1122704"/>
          <a:ext cx="762486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820" tIns="0" rIns="28820" bIns="0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50" kern="1200" dirty="0">
              <a:solidFill>
                <a:schemeClr val="bg1">
                  <a:lumMod val="7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rPr>
            <a:t>品牌广告</a:t>
          </a:r>
        </a:p>
      </dsp:txBody>
      <dsp:txXfrm>
        <a:off x="17293" y="1139997"/>
        <a:ext cx="727900" cy="31965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6E2E7C-FC08-C64D-B992-7AFC26650298}">
      <dsp:nvSpPr>
        <dsp:cNvPr id="0" name=""/>
        <dsp:cNvSpPr/>
      </dsp:nvSpPr>
      <dsp:spPr>
        <a:xfrm rot="10800000">
          <a:off x="0" y="0"/>
          <a:ext cx="1231888" cy="289498"/>
        </a:xfrm>
        <a:prstGeom prst="trapezoid">
          <a:avLst>
            <a:gd name="adj" fmla="val 70921"/>
          </a:avLst>
        </a:prstGeom>
        <a:solidFill>
          <a:schemeClr val="lt1"/>
        </a:solidFill>
        <a:ln w="12700" cap="flat" cmpd="sng" algn="ctr">
          <a:solidFill>
            <a:schemeClr val="dk1"/>
          </a:solidFill>
          <a:prstDash val="solid"/>
          <a:miter lim="800000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kern="1200">
              <a:latin typeface="Microsoft YaHei" panose="020B0503020204020204" pitchFamily="34" charset="-122"/>
              <a:ea typeface="Microsoft YaHei" panose="020B0503020204020204" pitchFamily="34" charset="-122"/>
            </a:rPr>
            <a:t>拜访</a:t>
          </a:r>
          <a:endParaRPr lang="zh-CN" altLang="en-US" sz="1000" kern="12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 rot="-10800000">
        <a:off x="215580" y="0"/>
        <a:ext cx="800727" cy="289498"/>
      </dsp:txXfrm>
    </dsp:sp>
    <dsp:sp modelId="{CE6F134D-4AD9-A440-A362-8B64E866A15C}">
      <dsp:nvSpPr>
        <dsp:cNvPr id="0" name=""/>
        <dsp:cNvSpPr/>
      </dsp:nvSpPr>
      <dsp:spPr>
        <a:xfrm rot="10800000">
          <a:off x="205314" y="289498"/>
          <a:ext cx="821259" cy="289498"/>
        </a:xfrm>
        <a:prstGeom prst="trapezoid">
          <a:avLst>
            <a:gd name="adj" fmla="val 70921"/>
          </a:avLst>
        </a:prstGeom>
        <a:solidFill>
          <a:schemeClr val="lt1"/>
        </a:solidFill>
        <a:ln w="12700" cap="flat" cmpd="sng" algn="ctr">
          <a:solidFill>
            <a:schemeClr val="dk1"/>
          </a:solidFill>
          <a:prstDash val="solid"/>
          <a:miter lim="800000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意向</a:t>
          </a:r>
        </a:p>
      </dsp:txBody>
      <dsp:txXfrm rot="-10800000">
        <a:off x="349035" y="289498"/>
        <a:ext cx="533818" cy="289498"/>
      </dsp:txXfrm>
    </dsp:sp>
    <dsp:sp modelId="{0C307E1B-F829-9646-8550-2C5131C5C1B7}">
      <dsp:nvSpPr>
        <dsp:cNvPr id="0" name=""/>
        <dsp:cNvSpPr/>
      </dsp:nvSpPr>
      <dsp:spPr>
        <a:xfrm rot="10800000">
          <a:off x="410629" y="578997"/>
          <a:ext cx="410629" cy="289498"/>
        </a:xfrm>
        <a:prstGeom prst="trapezoid">
          <a:avLst>
            <a:gd name="adj" fmla="val 70921"/>
          </a:avLst>
        </a:prstGeom>
        <a:solidFill>
          <a:schemeClr val="lt1"/>
        </a:solidFill>
        <a:ln w="12700" cap="flat" cmpd="sng" algn="ctr">
          <a:solidFill>
            <a:schemeClr val="dk1"/>
          </a:solidFill>
          <a:prstDash val="solid"/>
          <a:miter lim="800000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转化</a:t>
          </a:r>
        </a:p>
      </dsp:txBody>
      <dsp:txXfrm rot="-10800000">
        <a:off x="410629" y="578997"/>
        <a:ext cx="410629" cy="28949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074FDA-DE21-CF42-907E-C8D590D5A15C}">
      <dsp:nvSpPr>
        <dsp:cNvPr id="0" name=""/>
        <dsp:cNvSpPr/>
      </dsp:nvSpPr>
      <dsp:spPr>
        <a:xfrm>
          <a:off x="445834" y="1190"/>
          <a:ext cx="1840634" cy="92031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500" b="1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问题</a:t>
          </a:r>
        </a:p>
      </dsp:txBody>
      <dsp:txXfrm>
        <a:off x="472789" y="28145"/>
        <a:ext cx="1786724" cy="866407"/>
      </dsp:txXfrm>
    </dsp:sp>
    <dsp:sp modelId="{618780EB-0A70-7742-AEA1-8F873DA38530}">
      <dsp:nvSpPr>
        <dsp:cNvPr id="0" name=""/>
        <dsp:cNvSpPr/>
      </dsp:nvSpPr>
      <dsp:spPr>
        <a:xfrm>
          <a:off x="629898" y="921507"/>
          <a:ext cx="184063" cy="6902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0238"/>
              </a:lnTo>
              <a:lnTo>
                <a:pt x="184063" y="690238"/>
              </a:lnTo>
            </a:path>
          </a:pathLst>
        </a:custGeom>
        <a:noFill/>
        <a:ln w="635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4957E5-113C-0444-B3CD-E065271B6BE6}">
      <dsp:nvSpPr>
        <dsp:cNvPr id="0" name=""/>
        <dsp:cNvSpPr/>
      </dsp:nvSpPr>
      <dsp:spPr>
        <a:xfrm>
          <a:off x="813961" y="1151586"/>
          <a:ext cx="1472507" cy="92031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5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业务追求结果</a:t>
          </a:r>
        </a:p>
      </dsp:txBody>
      <dsp:txXfrm>
        <a:off x="840916" y="1178541"/>
        <a:ext cx="1418597" cy="866407"/>
      </dsp:txXfrm>
    </dsp:sp>
    <dsp:sp modelId="{A8DE44B4-D123-1549-A2CA-FD677C913D7C}">
      <dsp:nvSpPr>
        <dsp:cNvPr id="0" name=""/>
        <dsp:cNvSpPr/>
      </dsp:nvSpPr>
      <dsp:spPr>
        <a:xfrm>
          <a:off x="629898" y="921507"/>
          <a:ext cx="184063" cy="18406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40634"/>
              </a:lnTo>
              <a:lnTo>
                <a:pt x="184063" y="1840634"/>
              </a:lnTo>
            </a:path>
          </a:pathLst>
        </a:custGeom>
        <a:noFill/>
        <a:ln w="635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CBCF98-C228-7747-BA5F-49618D3A3E63}">
      <dsp:nvSpPr>
        <dsp:cNvPr id="0" name=""/>
        <dsp:cNvSpPr/>
      </dsp:nvSpPr>
      <dsp:spPr>
        <a:xfrm>
          <a:off x="813961" y="2301983"/>
          <a:ext cx="1472507" cy="92031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5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深入业务</a:t>
          </a:r>
        </a:p>
      </dsp:txBody>
      <dsp:txXfrm>
        <a:off x="840916" y="2328938"/>
        <a:ext cx="1418597" cy="866407"/>
      </dsp:txXfrm>
    </dsp:sp>
    <dsp:sp modelId="{8C5AC811-B717-594A-B137-B8C8F93F9D4D}">
      <dsp:nvSpPr>
        <dsp:cNvPr id="0" name=""/>
        <dsp:cNvSpPr/>
      </dsp:nvSpPr>
      <dsp:spPr>
        <a:xfrm>
          <a:off x="629898" y="921507"/>
          <a:ext cx="184063" cy="29910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91031"/>
              </a:lnTo>
              <a:lnTo>
                <a:pt x="184063" y="2991031"/>
              </a:lnTo>
            </a:path>
          </a:pathLst>
        </a:custGeom>
        <a:noFill/>
        <a:ln w="635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CF0B6E-914D-3341-A727-05986947885A}">
      <dsp:nvSpPr>
        <dsp:cNvPr id="0" name=""/>
        <dsp:cNvSpPr/>
      </dsp:nvSpPr>
      <dsp:spPr>
        <a:xfrm>
          <a:off x="813961" y="3452380"/>
          <a:ext cx="1472507" cy="92031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5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数据工作耗时</a:t>
          </a:r>
        </a:p>
      </dsp:txBody>
      <dsp:txXfrm>
        <a:off x="840916" y="3479335"/>
        <a:ext cx="1418597" cy="866407"/>
      </dsp:txXfrm>
    </dsp:sp>
    <dsp:sp modelId="{D927AA6A-B7D6-6B48-8CC6-6060A923576C}">
      <dsp:nvSpPr>
        <dsp:cNvPr id="0" name=""/>
        <dsp:cNvSpPr/>
      </dsp:nvSpPr>
      <dsp:spPr>
        <a:xfrm>
          <a:off x="2746628" y="1190"/>
          <a:ext cx="1840634" cy="92031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500" b="1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解决方向</a:t>
          </a:r>
        </a:p>
      </dsp:txBody>
      <dsp:txXfrm>
        <a:off x="2773583" y="28145"/>
        <a:ext cx="1786724" cy="866407"/>
      </dsp:txXfrm>
    </dsp:sp>
    <dsp:sp modelId="{67B65574-27E8-F940-B002-EB806C4A9BA8}">
      <dsp:nvSpPr>
        <dsp:cNvPr id="0" name=""/>
        <dsp:cNvSpPr/>
      </dsp:nvSpPr>
      <dsp:spPr>
        <a:xfrm>
          <a:off x="2930691" y="921507"/>
          <a:ext cx="184063" cy="6902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0238"/>
              </a:lnTo>
              <a:lnTo>
                <a:pt x="184063" y="690238"/>
              </a:lnTo>
            </a:path>
          </a:pathLst>
        </a:custGeom>
        <a:noFill/>
        <a:ln w="635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E40411-5160-EC42-9FAB-611A1F0CC74C}">
      <dsp:nvSpPr>
        <dsp:cNvPr id="0" name=""/>
        <dsp:cNvSpPr/>
      </dsp:nvSpPr>
      <dsp:spPr>
        <a:xfrm>
          <a:off x="3114755" y="1151586"/>
          <a:ext cx="1472507" cy="92031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5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关注业务健康度</a:t>
          </a:r>
          <a:r>
            <a:rPr lang="en-US" altLang="zh-CN" sz="15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&amp;</a:t>
          </a:r>
          <a:r>
            <a:rPr lang="zh-CN" altLang="en-US" sz="15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趋势</a:t>
          </a:r>
        </a:p>
      </dsp:txBody>
      <dsp:txXfrm>
        <a:off x="3141710" y="1178541"/>
        <a:ext cx="1418597" cy="866407"/>
      </dsp:txXfrm>
    </dsp:sp>
    <dsp:sp modelId="{B7C4CD94-E576-824C-8622-F0639B043C69}">
      <dsp:nvSpPr>
        <dsp:cNvPr id="0" name=""/>
        <dsp:cNvSpPr/>
      </dsp:nvSpPr>
      <dsp:spPr>
        <a:xfrm>
          <a:off x="2930691" y="921507"/>
          <a:ext cx="184063" cy="18406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40634"/>
              </a:lnTo>
              <a:lnTo>
                <a:pt x="184063" y="1840634"/>
              </a:lnTo>
            </a:path>
          </a:pathLst>
        </a:custGeom>
        <a:noFill/>
        <a:ln w="635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1C8C85-A75C-ED40-93EC-49CB0016469F}">
      <dsp:nvSpPr>
        <dsp:cNvPr id="0" name=""/>
        <dsp:cNvSpPr/>
      </dsp:nvSpPr>
      <dsp:spPr>
        <a:xfrm>
          <a:off x="3114755" y="2301983"/>
          <a:ext cx="1472507" cy="92031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5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走进业务，参与业务周会复盘</a:t>
          </a:r>
        </a:p>
      </dsp:txBody>
      <dsp:txXfrm>
        <a:off x="3141710" y="2328938"/>
        <a:ext cx="1418597" cy="866407"/>
      </dsp:txXfrm>
    </dsp:sp>
    <dsp:sp modelId="{082CC5FA-7DC3-D842-8E11-1A282FC9C695}">
      <dsp:nvSpPr>
        <dsp:cNvPr id="0" name=""/>
        <dsp:cNvSpPr/>
      </dsp:nvSpPr>
      <dsp:spPr>
        <a:xfrm>
          <a:off x="2930691" y="921507"/>
          <a:ext cx="184063" cy="29910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91031"/>
              </a:lnTo>
              <a:lnTo>
                <a:pt x="184063" y="2991031"/>
              </a:lnTo>
            </a:path>
          </a:pathLst>
        </a:custGeom>
        <a:noFill/>
        <a:ln w="635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58C48C-88AA-2F40-A008-18D13BF40AEA}">
      <dsp:nvSpPr>
        <dsp:cNvPr id="0" name=""/>
        <dsp:cNvSpPr/>
      </dsp:nvSpPr>
      <dsp:spPr>
        <a:xfrm>
          <a:off x="3114755" y="3452380"/>
          <a:ext cx="1472507" cy="92031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5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完善数据基建</a:t>
          </a:r>
          <a:r>
            <a:rPr lang="en-US" altLang="zh-CN" sz="15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&amp;</a:t>
          </a:r>
          <a:r>
            <a:rPr lang="zh-CN" altLang="en-US" sz="15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工具，任务合理评估排期</a:t>
          </a:r>
        </a:p>
      </dsp:txBody>
      <dsp:txXfrm>
        <a:off x="3141710" y="3479335"/>
        <a:ext cx="1418597" cy="866407"/>
      </dsp:txXfrm>
    </dsp:sp>
    <dsp:sp modelId="{0D87EB5D-8B1B-9A4B-BC35-DF3489682169}">
      <dsp:nvSpPr>
        <dsp:cNvPr id="0" name=""/>
        <dsp:cNvSpPr/>
      </dsp:nvSpPr>
      <dsp:spPr>
        <a:xfrm>
          <a:off x="5047421" y="1190"/>
          <a:ext cx="1840634" cy="92031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500" b="1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未来规划</a:t>
          </a:r>
        </a:p>
      </dsp:txBody>
      <dsp:txXfrm>
        <a:off x="5074376" y="28145"/>
        <a:ext cx="1786724" cy="866407"/>
      </dsp:txXfrm>
    </dsp:sp>
    <dsp:sp modelId="{CDEF8E9A-6659-D846-B4F3-55AF870A89E6}">
      <dsp:nvSpPr>
        <dsp:cNvPr id="0" name=""/>
        <dsp:cNvSpPr/>
      </dsp:nvSpPr>
      <dsp:spPr>
        <a:xfrm>
          <a:off x="5231485" y="921507"/>
          <a:ext cx="184063" cy="6902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0238"/>
              </a:lnTo>
              <a:lnTo>
                <a:pt x="184063" y="690238"/>
              </a:lnTo>
            </a:path>
          </a:pathLst>
        </a:custGeom>
        <a:noFill/>
        <a:ln w="635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AD6BB8-A096-C549-AE80-86E080399C99}">
      <dsp:nvSpPr>
        <dsp:cNvPr id="0" name=""/>
        <dsp:cNvSpPr/>
      </dsp:nvSpPr>
      <dsp:spPr>
        <a:xfrm>
          <a:off x="5415548" y="1151586"/>
          <a:ext cx="1472507" cy="92031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5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多维的经营分析</a:t>
          </a:r>
        </a:p>
      </dsp:txBody>
      <dsp:txXfrm>
        <a:off x="5442503" y="1178541"/>
        <a:ext cx="1418597" cy="866407"/>
      </dsp:txXfrm>
    </dsp:sp>
    <dsp:sp modelId="{481F3670-1465-C74D-B26C-74B80F73A8E1}">
      <dsp:nvSpPr>
        <dsp:cNvPr id="0" name=""/>
        <dsp:cNvSpPr/>
      </dsp:nvSpPr>
      <dsp:spPr>
        <a:xfrm>
          <a:off x="5231485" y="921507"/>
          <a:ext cx="184063" cy="18406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40634"/>
              </a:lnTo>
              <a:lnTo>
                <a:pt x="184063" y="1840634"/>
              </a:lnTo>
            </a:path>
          </a:pathLst>
        </a:custGeom>
        <a:noFill/>
        <a:ln w="635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1232BE-023C-2944-81BC-C3D5DFF7F59C}">
      <dsp:nvSpPr>
        <dsp:cNvPr id="0" name=""/>
        <dsp:cNvSpPr/>
      </dsp:nvSpPr>
      <dsp:spPr>
        <a:xfrm>
          <a:off x="5415548" y="2301983"/>
          <a:ext cx="1472507" cy="92031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5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直接参与到业务</a:t>
          </a:r>
          <a:r>
            <a:rPr lang="en-US" altLang="zh-CN" sz="15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BP</a:t>
          </a:r>
          <a:r>
            <a:rPr lang="zh-CN" altLang="en-US" sz="15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的周会工作中</a:t>
          </a:r>
        </a:p>
      </dsp:txBody>
      <dsp:txXfrm>
        <a:off x="5442503" y="2328938"/>
        <a:ext cx="1418597" cy="866407"/>
      </dsp:txXfrm>
    </dsp:sp>
    <dsp:sp modelId="{F689F142-E1FB-ED48-AE38-23B24D470CD2}">
      <dsp:nvSpPr>
        <dsp:cNvPr id="0" name=""/>
        <dsp:cNvSpPr/>
      </dsp:nvSpPr>
      <dsp:spPr>
        <a:xfrm>
          <a:off x="5231485" y="921507"/>
          <a:ext cx="184063" cy="29910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91031"/>
              </a:lnTo>
              <a:lnTo>
                <a:pt x="184063" y="2991031"/>
              </a:lnTo>
            </a:path>
          </a:pathLst>
        </a:custGeom>
        <a:noFill/>
        <a:ln w="635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060B88-B797-7346-BDDE-4FDF0D940699}">
      <dsp:nvSpPr>
        <dsp:cNvPr id="0" name=""/>
        <dsp:cNvSpPr/>
      </dsp:nvSpPr>
      <dsp:spPr>
        <a:xfrm>
          <a:off x="5415548" y="3452380"/>
          <a:ext cx="1472507" cy="92031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5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结构化的数据指标体系建设</a:t>
          </a:r>
        </a:p>
      </dsp:txBody>
      <dsp:txXfrm>
        <a:off x="5442503" y="3479335"/>
        <a:ext cx="1418597" cy="8664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28T03:12:22.501"/>
    </inkml:context>
    <inkml:brush xml:id="br0">
      <inkml:brushProperty name="width" value="0.06" units="cm"/>
      <inkml:brushProperty name="height" value="0.06" units="cm"/>
    </inkml:brush>
  </inkml:definitions>
  <inkml:trace contextRef="#ctx0" brushRef="#br0">0 1 8027,'0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28T03:12:22.656"/>
    </inkml:context>
    <inkml:brush xml:id="br0">
      <inkml:brushProperty name="width" value="0.06" units="cm"/>
      <inkml:brushProperty name="height" value="0.06" units="cm"/>
    </inkml:brush>
  </inkml:definitions>
  <inkml:trace contextRef="#ctx0" brushRef="#br0">0 0 8027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C6EF31-B901-DB43-B8F8-0A86A7FF4468}" type="datetimeFigureOut">
              <a:rPr kumimoji="1" lang="zh-CN" altLang="en-US" smtClean="0"/>
              <a:t>2026/1/25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F9002B-6DC4-D940-9DDD-64680AA93B4C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2559608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zh-CN" altLang="zh-CN" sz="1800" dirty="0">
              <a:effectLst/>
              <a:ea typeface="Microsoft YaHei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CD1C55-48BD-4D4F-9856-68C5F3A9D6A3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96431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86251A-29FE-FBB1-CD84-96EA93D464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70B94A6-F095-4659-3C72-FD273305CB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76EE14B-8A17-9447-E500-53EBB75997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E26E40C-EF4C-EBCF-D1D7-437C881FA4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CD1C55-48BD-4D4F-9856-68C5F3A9D6A3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74348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726522-730E-0A76-D480-8ED7F460C3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721430D8-D7BA-F9E3-FF9A-F1CD33A180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3FA58B95-09A0-C22C-F13C-A14985F82D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248C47F-2038-1AC8-BBFA-7DA88D9B6A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CD1C55-48BD-4D4F-9856-68C5F3A9D6A3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349043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CD1C55-48BD-4D4F-9856-68C5F3A9D6A3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98548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F9002B-6DC4-D940-9DDD-64680AA93B4C}" type="slidenum">
              <a:rPr kumimoji="1" lang="zh-CN" altLang="en-US" smtClean="0"/>
              <a:t>1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1316306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BBCDE1-55C7-A4ED-BDF3-EE034D6446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21BE6758-7230-CED2-E657-46CF9506F4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77850878-4369-43A1-F7CF-42D57E4077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目标是什么？问题关键性和及时性，基于目的做什么，基于当前需要做什么。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待提升的点：</a:t>
            </a:r>
            <a:endParaRPr lang="en-US" altLang="zh-CN" dirty="0"/>
          </a:p>
          <a:p>
            <a:r>
              <a:rPr lang="en-US" altLang="zh-CN" dirty="0"/>
              <a:t>1</a:t>
            </a:r>
            <a:r>
              <a:rPr lang="zh-CN" altLang="en-US" dirty="0"/>
              <a:t>）</a:t>
            </a:r>
            <a:r>
              <a:rPr lang="en-US" altLang="zh-CN" dirty="0"/>
              <a:t>for</a:t>
            </a:r>
            <a:r>
              <a:rPr lang="zh-CN" altLang="en-US" dirty="0"/>
              <a:t>目的</a:t>
            </a:r>
            <a:endParaRPr lang="en-US" altLang="zh-CN" dirty="0"/>
          </a:p>
          <a:p>
            <a:r>
              <a:rPr lang="en-US" altLang="zh-CN" dirty="0"/>
              <a:t>2</a:t>
            </a:r>
            <a:r>
              <a:rPr lang="zh-CN" altLang="en-US" dirty="0"/>
              <a:t>）表达</a:t>
            </a:r>
            <a:endParaRPr lang="en-US" altLang="zh-CN" dirty="0"/>
          </a:p>
          <a:p>
            <a:r>
              <a:rPr lang="en-US" altLang="zh-CN" dirty="0"/>
              <a:t>3</a:t>
            </a:r>
            <a:r>
              <a:rPr lang="zh-CN" altLang="en-US" dirty="0"/>
              <a:t>）业务视角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从被动到主动</a:t>
            </a:r>
            <a:endParaRPr lang="en-US" altLang="zh-CN" dirty="0"/>
          </a:p>
          <a:p>
            <a:r>
              <a:rPr lang="zh-CN" altLang="en-US" dirty="0"/>
              <a:t>从支持到影响（效率、正向）</a:t>
            </a:r>
            <a:endParaRPr lang="en-US" altLang="zh-CN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085331E-3564-22AD-A06B-22339A8C7D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20C0D1-A06E-497C-B6C4-8C0C773D7544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15732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CD1C55-48BD-4D4F-9856-68C5F3A9D6A3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589432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20C0D1-A06E-497C-B6C4-8C0C773D7544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442843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F9002B-6DC4-D940-9DDD-64680AA93B4C}" type="slidenum">
              <a:rPr kumimoji="1" lang="zh-CN" altLang="en-US" smtClean="0"/>
              <a:t>1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1398921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773407-BD65-492C-9642-71A85FF3CA1B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812357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8CA936-98C3-441B-6025-ED62B307A8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FA29E844-5D0D-43C8-A996-5917AFD944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C9A06CE-8877-F879-0408-27329ED8DC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zh-CN" altLang="zh-CN" sz="1200" dirty="0">
              <a:effectLst/>
              <a:ea typeface="Microsoft YaHei" panose="020B0503020204020204" pitchFamily="34" charset="-122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A99126E-2224-A814-F1DF-AD413678B9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773407-BD65-492C-9642-71A85FF3CA1B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127816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773407-BD65-492C-9642-71A85FF3CA1B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02523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CD1C55-48BD-4D4F-9856-68C5F3A9D6A3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12229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第二部分是我的工作框架和重点工作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773407-BD65-492C-9642-71A85FF3CA1B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54098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C7C7C7-ADFA-3514-117F-1D373C758C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CA0B1694-D845-1700-22AA-BD4BA075B4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8F93D9E-DC59-D9F9-7FA9-504FE5FAD3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58D779F-1A78-581B-BEBB-E09666B5CF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1F750E-A96E-5F4A-AA76-419408CCFAEB}" type="slidenum">
              <a:rPr kumimoji="1" lang="zh-CN" altLang="en-US" smtClean="0"/>
              <a:t>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666814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B1281A-EED2-3269-F7BB-DA39ACB210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957C0AB-DD52-B58B-7449-D67EDDE8F9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44E971E3-52B4-B764-5CA6-DFEE12334A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A87DD33-872E-2C2F-35F9-2FD4BB5024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CD1C55-48BD-4D4F-9856-68C5F3A9D6A3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916681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1014CC-7C51-D483-A271-1B91090168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90E522B-FE6B-7265-7346-68873D529E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FB065547-0C55-CDDE-6112-DDD09C084E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0475159-7918-EA48-8D9D-710F5E3003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CD1C55-48BD-4D4F-9856-68C5F3A9D6A3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625607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 b="0" i="0">
                <a:latin typeface="SimHei" panose="02010609060101010101" pitchFamily="49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/25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3992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 b="0" i="0">
                <a:latin typeface="SimHei" panose="02010609060101010101" pitchFamily="49" charset="-122"/>
              </a:defRPr>
            </a:lvl1pPr>
            <a:lvl2pPr>
              <a:defRPr b="0" i="0">
                <a:latin typeface="SimHei" panose="02010609060101010101" pitchFamily="49" charset="-122"/>
              </a:defRPr>
            </a:lvl2pPr>
            <a:lvl3pPr>
              <a:defRPr b="0" i="0">
                <a:latin typeface="SimHei" panose="02010609060101010101" pitchFamily="49" charset="-122"/>
              </a:defRPr>
            </a:lvl3pPr>
            <a:lvl4pPr>
              <a:defRPr b="0" i="0">
                <a:latin typeface="SimHei" panose="02010609060101010101" pitchFamily="49" charset="-122"/>
              </a:defRPr>
            </a:lvl4pPr>
            <a:lvl5pPr>
              <a:defRPr b="0" i="0">
                <a:latin typeface="SimHei" panose="02010609060101010101" pitchFamily="49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/25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81810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 b="0" i="0">
                <a:latin typeface="SimHei" panose="02010609060101010101" pitchFamily="49" charset="-122"/>
              </a:defRPr>
            </a:lvl1pPr>
            <a:lvl2pPr>
              <a:defRPr b="0" i="0">
                <a:latin typeface="SimHei" panose="02010609060101010101" pitchFamily="49" charset="-122"/>
              </a:defRPr>
            </a:lvl2pPr>
            <a:lvl3pPr>
              <a:defRPr b="0" i="0">
                <a:latin typeface="SimHei" panose="02010609060101010101" pitchFamily="49" charset="-122"/>
              </a:defRPr>
            </a:lvl3pPr>
            <a:lvl4pPr>
              <a:defRPr b="0" i="0">
                <a:latin typeface="SimHei" panose="02010609060101010101" pitchFamily="49" charset="-122"/>
              </a:defRPr>
            </a:lvl4pPr>
            <a:lvl5pPr>
              <a:defRPr b="0" i="0">
                <a:latin typeface="SimHei" panose="02010609060101010101" pitchFamily="49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/25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6199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过渡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6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2840593" y="1031338"/>
            <a:ext cx="6510815" cy="4616450"/>
          </a:xfrm>
          <a:noFill/>
        </p:spPr>
        <p:txBody>
          <a:bodyPr vert="horz" wrap="square" lIns="0" tIns="0" rIns="0" bIns="0" rtlCol="0" anchor="ctr">
            <a:spAutoFit/>
          </a:bodyPr>
          <a:lstStyle>
            <a:lvl1pPr algn="ctr">
              <a:defRPr kumimoji="1" lang="en-US" altLang="zh-CN" sz="30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94000">
                      <a:schemeClr val="bg2">
                        <a:lumMod val="95000"/>
                        <a:alpha val="0"/>
                      </a:schemeClr>
                    </a:gs>
                    <a:gs pos="0">
                      <a:schemeClr val="accent1">
                        <a:lumMod val="20000"/>
                        <a:lumOff val="80000"/>
                        <a:alpha val="42000"/>
                      </a:schemeClr>
                    </a:gs>
                  </a:gsLst>
                  <a:lin ang="5400000" scaled="0"/>
                </a:gra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OPPOSans H" pitchFamily="18" charset="-122"/>
              </a:defRPr>
            </a:lvl1pPr>
          </a:lstStyle>
          <a:p>
            <a:pPr marL="0" lvl="0" algn="ctr" defTabSz="45656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en-US" altLang="zh-CN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7358395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68213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91A1FD1-1765-0346-96F3-AFC34D9DEE4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424895"/>
            <a:ext cx="10515600" cy="47520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2400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2400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2400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2400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492B852-7B88-7F4D-964E-55CFB00AFA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2766"/>
            <a:ext cx="10515600" cy="75049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0" b="1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1804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垂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pic" sz="half" idx="13"/>
          </p:nvPr>
        </p:nvSpPr>
        <p:spPr>
          <a:xfrm>
            <a:off x="6582990" y="552450"/>
            <a:ext cx="4762501" cy="57531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Shape 39"/>
          <p:cNvSpPr>
            <a:spLocks noGrp="1"/>
          </p:cNvSpPr>
          <p:nvPr>
            <p:ph type="title"/>
          </p:nvPr>
        </p:nvSpPr>
        <p:spPr>
          <a:xfrm>
            <a:off x="825500" y="552450"/>
            <a:ext cx="5111750" cy="2806700"/>
          </a:xfrm>
          <a:prstGeom prst="rect">
            <a:avLst/>
          </a:prstGeom>
        </p:spPr>
        <p:txBody>
          <a:bodyPr anchor="b"/>
          <a:lstStyle>
            <a:lvl1pPr>
              <a:defRPr sz="4200"/>
            </a:lvl1pPr>
          </a:lstStyle>
          <a:p>
            <a:r>
              <a:t>标题文本</a:t>
            </a:r>
          </a:p>
        </p:txBody>
      </p:sp>
      <p:sp>
        <p:nvSpPr>
          <p:cNvPr id="40" name="Shape 40"/>
          <p:cNvSpPr>
            <a:spLocks noGrp="1"/>
          </p:cNvSpPr>
          <p:nvPr>
            <p:ph type="body" sz="quarter" idx="1"/>
          </p:nvPr>
        </p:nvSpPr>
        <p:spPr>
          <a:xfrm>
            <a:off x="825500" y="3422650"/>
            <a:ext cx="5111750" cy="28829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00"/>
            </a:lvl1pPr>
            <a:lvl2pPr marL="0" indent="114300" algn="ctr">
              <a:spcBef>
                <a:spcPts val="0"/>
              </a:spcBef>
              <a:buSzTx/>
              <a:buNone/>
              <a:defRPr sz="2200"/>
            </a:lvl2pPr>
            <a:lvl3pPr marL="0" indent="228600" algn="ctr">
              <a:spcBef>
                <a:spcPts val="0"/>
              </a:spcBef>
              <a:buSzTx/>
              <a:buNone/>
              <a:defRPr sz="2200"/>
            </a:lvl3pPr>
            <a:lvl4pPr marL="0" indent="342900" algn="ctr">
              <a:spcBef>
                <a:spcPts val="0"/>
              </a:spcBef>
              <a:buSzTx/>
              <a:buNone/>
              <a:defRPr sz="2200"/>
            </a:lvl4pPr>
            <a:lvl5pPr marL="0" indent="457200" algn="ctr">
              <a:spcBef>
                <a:spcPts val="0"/>
              </a:spcBef>
              <a:buSzTx/>
              <a:buNone/>
              <a:defRPr sz="22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89549822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68363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7" name="矩形 6"/>
          <p:cNvSpPr/>
          <p:nvPr userDrawn="1"/>
        </p:nvSpPr>
        <p:spPr>
          <a:xfrm>
            <a:off x="0" y="4502726"/>
            <a:ext cx="12192000" cy="1276639"/>
          </a:xfrm>
          <a:prstGeom prst="rect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8" name="文本框 7"/>
          <p:cNvSpPr txBox="1"/>
          <p:nvPr userDrawn="1"/>
        </p:nvSpPr>
        <p:spPr>
          <a:xfrm>
            <a:off x="6096000" y="4806338"/>
            <a:ext cx="4352474" cy="6694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浙江核新同花顺网络信息股份有限公司</a:t>
            </a:r>
          </a:p>
          <a:p>
            <a:pPr>
              <a:lnSpc>
                <a:spcPct val="150000"/>
              </a:lnSpc>
            </a:pPr>
            <a:r>
              <a:rPr kumimoji="1" lang="en-US" altLang="zh-CN" sz="11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CopyrightHithink RoyalFlush Information Network Co.,Ltd.</a:t>
            </a:r>
            <a:endParaRPr kumimoji="1" lang="zh-CN" altLang="en-US" sz="1100" b="1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960191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29569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492B852-7B88-7F4D-964E-55CFB00AFA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2766"/>
            <a:ext cx="10515600" cy="75049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0" b="1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713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91A1FD1-1765-0346-96F3-AFC34D9DEE4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424895"/>
            <a:ext cx="10515600" cy="47520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2400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2400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2400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2400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492B852-7B88-7F4D-964E-55CFB00AFA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2766"/>
            <a:ext cx="10515600" cy="75049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0" b="1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90621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  <a:lvl2pPr>
              <a:defRPr b="0" i="0">
                <a:latin typeface="SimHei" panose="02010609060101010101" pitchFamily="49" charset="-122"/>
              </a:defRPr>
            </a:lvl2pPr>
            <a:lvl3pPr>
              <a:defRPr b="0" i="0">
                <a:latin typeface="SimHei" panose="02010609060101010101" pitchFamily="49" charset="-122"/>
              </a:defRPr>
            </a:lvl3pPr>
            <a:lvl4pPr>
              <a:defRPr b="0" i="0">
                <a:latin typeface="SimHei" panose="02010609060101010101" pitchFamily="49" charset="-122"/>
              </a:defRPr>
            </a:lvl4pPr>
            <a:lvl5pPr>
              <a:defRPr b="0" i="0">
                <a:latin typeface="SimHei" panose="02010609060101010101" pitchFamily="49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/25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2747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91A1FD1-1765-0346-96F3-AFC34D9DEE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424895"/>
            <a:ext cx="5219700" cy="47520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2400">
                <a:latin typeface="+mn-ea"/>
                <a:ea typeface="+mn-ea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2400">
                <a:latin typeface="+mn-ea"/>
                <a:ea typeface="+mn-ea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2400">
                <a:latin typeface="+mn-ea"/>
                <a:ea typeface="+mn-ea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2400">
                <a:latin typeface="+mn-ea"/>
                <a:ea typeface="+mn-ea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2400">
                <a:latin typeface="+mn-ea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BFE192F2-A66B-2C47-B4C4-6814F06164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34101" y="1424895"/>
            <a:ext cx="5219700" cy="47520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2400">
                <a:latin typeface="+mn-ea"/>
                <a:ea typeface="+mn-ea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2400">
                <a:latin typeface="+mn-ea"/>
                <a:ea typeface="+mn-ea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2400">
                <a:latin typeface="+mn-ea"/>
                <a:ea typeface="+mn-ea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2400">
                <a:latin typeface="+mn-ea"/>
                <a:ea typeface="+mn-ea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2400">
                <a:latin typeface="+mn-ea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492B852-7B88-7F4D-964E-55CFB00AFA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2766"/>
            <a:ext cx="10515600" cy="75049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0" b="1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55944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小图模板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1098259"/>
            <a:ext cx="6172200" cy="48736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latin typeface="+mn-ea"/>
                <a:ea typeface="+mn-ea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2000">
                <a:latin typeface="+mn-ea"/>
                <a:ea typeface="+mn-ea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800">
                <a:latin typeface="+mn-ea"/>
                <a:ea typeface="+mn-ea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600">
                <a:latin typeface="+mn-ea"/>
                <a:ea typeface="+mn-ea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600">
                <a:latin typeface="+mn-ea"/>
                <a:ea typeface="+mn-ea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492B852-7B88-7F4D-964E-55CFB00AFA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2766"/>
            <a:ext cx="10515600" cy="75049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0" b="1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标题</a:t>
            </a:r>
            <a:endParaRPr lang="en-US" dirty="0"/>
          </a:p>
        </p:txBody>
      </p:sp>
      <p:sp>
        <p:nvSpPr>
          <p:cNvPr id="16" name="图表占位符 15"/>
          <p:cNvSpPr>
            <a:spLocks noGrp="1"/>
          </p:cNvSpPr>
          <p:nvPr>
            <p:ph type="chart" sz="quarter" idx="12"/>
          </p:nvPr>
        </p:nvSpPr>
        <p:spPr>
          <a:xfrm>
            <a:off x="850900" y="1250993"/>
            <a:ext cx="4046538" cy="472089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6018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小图模板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A492B852-7B88-7F4D-964E-55CFB00AFA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2766"/>
            <a:ext cx="10515600" cy="75049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0" b="1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标题</a:t>
            </a:r>
            <a:endParaRPr lang="en-US" dirty="0"/>
          </a:p>
        </p:txBody>
      </p:sp>
      <p:sp>
        <p:nvSpPr>
          <p:cNvPr id="26" name="图表占位符 15"/>
          <p:cNvSpPr>
            <a:spLocks noGrp="1"/>
          </p:cNvSpPr>
          <p:nvPr>
            <p:ph type="chart" sz="quarter" idx="12"/>
          </p:nvPr>
        </p:nvSpPr>
        <p:spPr>
          <a:xfrm>
            <a:off x="1043448" y="1226930"/>
            <a:ext cx="4046538" cy="472089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" name="SmartArt 占位符 10"/>
          <p:cNvSpPr>
            <a:spLocks noGrp="1"/>
          </p:cNvSpPr>
          <p:nvPr>
            <p:ph type="dgm" sz="quarter" idx="13"/>
          </p:nvPr>
        </p:nvSpPr>
        <p:spPr>
          <a:xfrm>
            <a:off x="5390978" y="1226930"/>
            <a:ext cx="5686425" cy="472089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270840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图模板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936041" y="1468438"/>
            <a:ext cx="3932237" cy="44005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7F7F7F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492B852-7B88-7F4D-964E-55CFB00AFA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2766"/>
            <a:ext cx="10515600" cy="75049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0" b="1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标题</a:t>
            </a:r>
            <a:endParaRPr lang="en-US" dirty="0"/>
          </a:p>
        </p:txBody>
      </p:sp>
      <p:sp>
        <p:nvSpPr>
          <p:cNvPr id="7" name="图表占位符 6"/>
          <p:cNvSpPr>
            <a:spLocks noGrp="1"/>
          </p:cNvSpPr>
          <p:nvPr>
            <p:ph type="chart" sz="quarter" idx="12"/>
          </p:nvPr>
        </p:nvSpPr>
        <p:spPr>
          <a:xfrm>
            <a:off x="5294313" y="1468438"/>
            <a:ext cx="6059487" cy="440055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697555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大图模板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1">
            <a:extLst>
              <a:ext uri="{FF2B5EF4-FFF2-40B4-BE49-F238E27FC236}">
                <a16:creationId xmlns:a16="http://schemas.microsoft.com/office/drawing/2014/main" id="{A492B852-7B88-7F4D-964E-55CFB00AFA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2766"/>
            <a:ext cx="10515600" cy="75049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0" b="1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标题</a:t>
            </a:r>
            <a:endParaRPr 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3" hasCustomPrompt="1"/>
          </p:nvPr>
        </p:nvSpPr>
        <p:spPr>
          <a:xfrm>
            <a:off x="850900" y="1276350"/>
            <a:ext cx="10502900" cy="885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altLang="zh-CN" dirty="0"/>
              <a:t>Text here</a:t>
            </a:r>
            <a:endParaRPr lang="zh-CN" altLang="en-US" dirty="0"/>
          </a:p>
        </p:txBody>
      </p:sp>
      <p:sp>
        <p:nvSpPr>
          <p:cNvPr id="10" name="图表占位符 9"/>
          <p:cNvSpPr>
            <a:spLocks noGrp="1"/>
          </p:cNvSpPr>
          <p:nvPr>
            <p:ph type="chart" sz="quarter" idx="14"/>
          </p:nvPr>
        </p:nvSpPr>
        <p:spPr>
          <a:xfrm>
            <a:off x="850900" y="2314575"/>
            <a:ext cx="10502900" cy="379095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987489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5159292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99777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1">
                    <a:tint val="75000"/>
                  </a:schemeClr>
                </a:solidFill>
                <a:latin typeface="SimHei" panose="02010609060101010101" pitchFamily="49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/25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7955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  <a:lvl2pPr>
              <a:defRPr b="0" i="0">
                <a:latin typeface="SimHei" panose="02010609060101010101" pitchFamily="49" charset="-122"/>
              </a:defRPr>
            </a:lvl2pPr>
            <a:lvl3pPr>
              <a:defRPr b="0" i="0">
                <a:latin typeface="SimHei" panose="02010609060101010101" pitchFamily="49" charset="-122"/>
              </a:defRPr>
            </a:lvl3pPr>
            <a:lvl4pPr>
              <a:defRPr b="0" i="0">
                <a:latin typeface="SimHei" panose="02010609060101010101" pitchFamily="49" charset="-122"/>
              </a:defRPr>
            </a:lvl4pPr>
            <a:lvl5pPr>
              <a:defRPr b="0" i="0">
                <a:latin typeface="SimHei" panose="02010609060101010101" pitchFamily="49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  <a:lvl2pPr>
              <a:defRPr b="0" i="0">
                <a:latin typeface="SimHei" panose="02010609060101010101" pitchFamily="49" charset="-122"/>
              </a:defRPr>
            </a:lvl2pPr>
            <a:lvl3pPr>
              <a:defRPr b="0" i="0">
                <a:latin typeface="SimHei" panose="02010609060101010101" pitchFamily="49" charset="-122"/>
              </a:defRPr>
            </a:lvl3pPr>
            <a:lvl4pPr>
              <a:defRPr b="0" i="0">
                <a:latin typeface="SimHei" panose="02010609060101010101" pitchFamily="49" charset="-122"/>
              </a:defRPr>
            </a:lvl4pPr>
            <a:lvl5pPr>
              <a:defRPr b="0" i="0">
                <a:latin typeface="SimHei" panose="02010609060101010101" pitchFamily="49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/25/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055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0" i="0">
                <a:latin typeface="SimHei" panose="02010609060101010101" pitchFamily="49" charset="-12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  <a:lvl2pPr>
              <a:defRPr b="0" i="0">
                <a:latin typeface="SimHei" panose="02010609060101010101" pitchFamily="49" charset="-122"/>
              </a:defRPr>
            </a:lvl2pPr>
            <a:lvl3pPr>
              <a:defRPr b="0" i="0">
                <a:latin typeface="SimHei" panose="02010609060101010101" pitchFamily="49" charset="-122"/>
              </a:defRPr>
            </a:lvl3pPr>
            <a:lvl4pPr>
              <a:defRPr b="0" i="0">
                <a:latin typeface="SimHei" panose="02010609060101010101" pitchFamily="49" charset="-122"/>
              </a:defRPr>
            </a:lvl4pPr>
            <a:lvl5pPr>
              <a:defRPr b="0" i="0">
                <a:latin typeface="SimHei" panose="02010609060101010101" pitchFamily="49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0" i="0">
                <a:latin typeface="SimHei" panose="02010609060101010101" pitchFamily="49" charset="-12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  <a:lvl2pPr>
              <a:defRPr b="0" i="0">
                <a:latin typeface="SimHei" panose="02010609060101010101" pitchFamily="49" charset="-122"/>
              </a:defRPr>
            </a:lvl2pPr>
            <a:lvl3pPr>
              <a:defRPr b="0" i="0">
                <a:latin typeface="SimHei" panose="02010609060101010101" pitchFamily="49" charset="-122"/>
              </a:defRPr>
            </a:lvl3pPr>
            <a:lvl4pPr>
              <a:defRPr b="0" i="0">
                <a:latin typeface="SimHei" panose="02010609060101010101" pitchFamily="49" charset="-122"/>
              </a:defRPr>
            </a:lvl4pPr>
            <a:lvl5pPr>
              <a:defRPr b="0" i="0">
                <a:latin typeface="SimHei" panose="02010609060101010101" pitchFamily="49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/25/2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30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/25/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546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/25/2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3891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 b="0" i="0">
                <a:latin typeface="SimHei" panose="02010609060101010101" pitchFamily="49" charset="-122"/>
              </a:defRPr>
            </a:lvl1pPr>
            <a:lvl2pPr>
              <a:defRPr sz="2800" b="0" i="0">
                <a:latin typeface="SimHei" panose="02010609060101010101" pitchFamily="49" charset="-122"/>
              </a:defRPr>
            </a:lvl2pPr>
            <a:lvl3pPr>
              <a:defRPr sz="2400" b="0" i="0">
                <a:latin typeface="SimHei" panose="02010609060101010101" pitchFamily="49" charset="-122"/>
              </a:defRPr>
            </a:lvl3pPr>
            <a:lvl4pPr>
              <a:defRPr sz="2000" b="0" i="0">
                <a:latin typeface="SimHei" panose="02010609060101010101" pitchFamily="49" charset="-122"/>
              </a:defRPr>
            </a:lvl4pPr>
            <a:lvl5pPr>
              <a:defRPr sz="2000" b="0" i="0">
                <a:latin typeface="SimHei" panose="02010609060101010101" pitchFamily="49" charset="-122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 b="0" i="0">
                <a:latin typeface="SimHei" panose="02010609060101010101" pitchFamily="49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/25/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13343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 b="0" i="0">
                <a:latin typeface="SimHei" panose="02010609060101010101" pitchFamily="49" charset="-12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dirty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 b="0" i="0">
                <a:latin typeface="SimHei" panose="02010609060101010101" pitchFamily="49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/25/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79232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ags" Target="../tags/tag4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8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C0BAD96-55D8-0FBA-FBED-598FD4ED5299}"/>
              </a:ext>
            </a:extLst>
          </p:cNvPr>
          <p:cNvGraphicFramePr>
            <a:graphicFrameLocks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8547825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9" imgW="7772400" imgH="10058400" progId="TCLayout.ActiveDocument.1">
                  <p:embed/>
                </p:oleObj>
              </mc:Choice>
              <mc:Fallback>
                <p:oleObj name="think-cell 幻灯片" r:id="rId19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0BAD96-55D8-0FBA-FBED-598FD4ED5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/25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230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88" r:id="rId14"/>
    <p:sldLayoutId id="2147483689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SimHei" panose="02010609060101010101" pitchFamily="49" charset="-122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imHei" panose="02010609060101010101" pitchFamily="49" charset="-122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imHei" panose="02010609060101010101" pitchFamily="49" charset="-122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imHei" panose="02010609060101010101" pitchFamily="49" charset="-122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imHei" panose="02010609060101010101" pitchFamily="49" charset="-122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imHei" panose="02010609060101010101" pitchFamily="49" charset="-122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1206BCA-E838-CB6B-68F3-878052ADCD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510929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5" imgW="7772400" imgH="10058400" progId="TCLayout.ActiveDocument.1">
                  <p:embed/>
                </p:oleObj>
              </mc:Choice>
              <mc:Fallback>
                <p:oleObj name="think-cell 幻灯片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83"/>
            <a:ext cx="12191098" cy="6859205"/>
          </a:xfrm>
          <a:prstGeom prst="rect">
            <a:avLst/>
          </a:prstGeom>
          <a:solidFill>
            <a:srgbClr val="BEBEBE"/>
          </a:solidFill>
        </p:spPr>
      </p:pic>
      <p:sp>
        <p:nvSpPr>
          <p:cNvPr id="8" name="矩形 7"/>
          <p:cNvSpPr/>
          <p:nvPr userDrawn="1"/>
        </p:nvSpPr>
        <p:spPr>
          <a:xfrm>
            <a:off x="0" y="6644640"/>
            <a:ext cx="12192000" cy="2133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cxnSp>
        <p:nvCxnSpPr>
          <p:cNvPr id="9" name="直线连接符 6"/>
          <p:cNvCxnSpPr/>
          <p:nvPr userDrawn="1"/>
        </p:nvCxnSpPr>
        <p:spPr>
          <a:xfrm>
            <a:off x="8732312" y="646588"/>
            <a:ext cx="332211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 12"/>
          <p:cNvSpPr/>
          <p:nvPr userDrawn="1"/>
        </p:nvSpPr>
        <p:spPr>
          <a:xfrm>
            <a:off x="9425613" y="384205"/>
            <a:ext cx="1672253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050" dirty="0">
                <a:solidFill>
                  <a:prstClr val="black"/>
                </a:solidFill>
              </a:rPr>
              <a:t>http://www.10jqka.com.cn</a:t>
            </a:r>
          </a:p>
        </p:txBody>
      </p:sp>
      <p:pic>
        <p:nvPicPr>
          <p:cNvPr id="14" name="图片 13" descr="矢量智能对象"/>
          <p:cNvPicPr>
            <a:picLocks noChangeAspect="1"/>
          </p:cNvPicPr>
          <p:nvPr userDrawn="1"/>
        </p:nvPicPr>
        <p:blipFill rotWithShape="1">
          <a:blip r:embed="rId18"/>
          <a:srcRect l="34306" t="1" b="23677"/>
          <a:stretch>
            <a:fillRect/>
          </a:stretch>
        </p:blipFill>
        <p:spPr>
          <a:xfrm>
            <a:off x="9449764" y="76445"/>
            <a:ext cx="1064871" cy="370530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559" y="89549"/>
            <a:ext cx="581246" cy="467334"/>
          </a:xfrm>
          <a:prstGeom prst="rect">
            <a:avLst/>
          </a:prstGeom>
          <a:ln w="19050">
            <a:noFill/>
          </a:ln>
        </p:spPr>
      </p:pic>
    </p:spTree>
    <p:extLst>
      <p:ext uri="{BB962C8B-B14F-4D97-AF65-F5344CB8AC3E}">
        <p14:creationId xmlns:p14="http://schemas.microsoft.com/office/powerpoint/2010/main" val="3869670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6.xml"/><Relationship Id="rId6" Type="http://schemas.openxmlformats.org/officeDocument/2006/relationships/image" Target="../media/image2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7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9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notesSlide" Target="../notesSlides/notesSlide13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10" Type="http://schemas.openxmlformats.org/officeDocument/2006/relationships/tags" Target="../tags/tag37.xml"/><Relationship Id="rId19" Type="http://schemas.openxmlformats.org/officeDocument/2006/relationships/slideLayout" Target="../slideLayouts/slideLayout13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6.xml"/><Relationship Id="rId6" Type="http://schemas.openxmlformats.org/officeDocument/2006/relationships/image" Target="../media/image32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6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notesSlide" Target="../notesSlides/notesSlide2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slideLayout" Target="../slideLayouts/slideLayout14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3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2.xml"/><Relationship Id="rId6" Type="http://schemas.openxmlformats.org/officeDocument/2006/relationships/diagramData" Target="../diagrams/data1.xml"/><Relationship Id="rId5" Type="http://schemas.openxmlformats.org/officeDocument/2006/relationships/image" Target="../media/image8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4.bin"/><Relationship Id="rId9" Type="http://schemas.openxmlformats.org/officeDocument/2006/relationships/diagramColors" Target="../diagrams/colors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5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3.xml"/><Relationship Id="rId6" Type="http://schemas.openxmlformats.org/officeDocument/2006/relationships/diagramData" Target="../diagrams/data2.xml"/><Relationship Id="rId5" Type="http://schemas.openxmlformats.org/officeDocument/2006/relationships/image" Target="../media/image9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5.bin"/><Relationship Id="rId9" Type="http://schemas.openxmlformats.org/officeDocument/2006/relationships/diagramColors" Target="../diagrams/colors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13" Type="http://schemas.openxmlformats.org/officeDocument/2006/relationships/diagramQuickStyle" Target="../diagrams/quickStyle4.xml"/><Relationship Id="rId3" Type="http://schemas.openxmlformats.org/officeDocument/2006/relationships/customXml" Target="../ink/ink1.xml"/><Relationship Id="rId7" Type="http://schemas.openxmlformats.org/officeDocument/2006/relationships/diagramLayout" Target="../diagrams/layout3.xml"/><Relationship Id="rId12" Type="http://schemas.openxmlformats.org/officeDocument/2006/relationships/diagramLayout" Target="../diagrams/layout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diagramData" Target="../diagrams/data3.xml"/><Relationship Id="rId11" Type="http://schemas.openxmlformats.org/officeDocument/2006/relationships/diagramData" Target="../diagrams/data4.xml"/><Relationship Id="rId5" Type="http://schemas.openxmlformats.org/officeDocument/2006/relationships/customXml" Target="../ink/ink2.xml"/><Relationship Id="rId15" Type="http://schemas.microsoft.com/office/2007/relationships/diagramDrawing" Target="../diagrams/drawing4.xml"/><Relationship Id="rId10" Type="http://schemas.microsoft.com/office/2007/relationships/diagramDrawing" Target="../diagrams/drawing3.xml"/><Relationship Id="rId4" Type="http://schemas.openxmlformats.org/officeDocument/2006/relationships/image" Target="../media/image1.png"/><Relationship Id="rId9" Type="http://schemas.openxmlformats.org/officeDocument/2006/relationships/diagramColors" Target="../diagrams/colors3.xml"/><Relationship Id="rId14" Type="http://schemas.openxmlformats.org/officeDocument/2006/relationships/diagramColors" Target="../diagrams/colors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4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5.xml"/><Relationship Id="rId6" Type="http://schemas.openxmlformats.org/officeDocument/2006/relationships/image" Target="../media/image15.png"/><Relationship Id="rId5" Type="http://schemas.openxmlformats.org/officeDocument/2006/relationships/image" Target="../media/image9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CF58E62-D3A7-BA88-255E-E83A8AA472A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76154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493713"/>
            <a:ext cx="9144000" cy="2387600"/>
          </a:xfrm>
        </p:spPr>
        <p:txBody>
          <a:bodyPr vert="horz" rIns="91440"/>
          <a:lstStyle/>
          <a:p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试用期述职</a:t>
            </a: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7390357" y="3429000"/>
            <a:ext cx="4354882" cy="683635"/>
          </a:xfrm>
        </p:spPr>
        <p:txBody>
          <a:bodyPr>
            <a:normAutofit fontScale="92500" lnSpcReduction="10000"/>
          </a:bodyPr>
          <a:lstStyle/>
          <a:p>
            <a:pPr algn="l"/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</a:t>
            </a:r>
            <a:r>
              <a:rPr lang="en-US" altLang="zh-CN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教培业务部</a:t>
            </a:r>
            <a:endParaRPr lang="en-US" altLang="zh-CN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l"/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业务分析：黄文武（</a:t>
            </a:r>
            <a:r>
              <a:rPr lang="en-US" altLang="zh-CN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2025.8.7</a:t>
            </a:r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入职）</a:t>
            </a:r>
          </a:p>
        </p:txBody>
      </p:sp>
    </p:spTree>
    <p:extLst>
      <p:ext uri="{BB962C8B-B14F-4D97-AF65-F5344CB8AC3E}">
        <p14:creationId xmlns:p14="http://schemas.microsoft.com/office/powerpoint/2010/main" val="9033488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78BC6E-5219-B951-F364-5D4F0197A2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007C45-88A4-92CA-7615-5FAF1F175D6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E64EF4-3590-FA03-DDAE-F3AA54EA2F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标题 32">
            <a:extLst>
              <a:ext uri="{FF2B5EF4-FFF2-40B4-BE49-F238E27FC236}">
                <a16:creationId xmlns:a16="http://schemas.microsoft.com/office/drawing/2014/main" id="{D887D0A6-6C93-84E4-95D4-1D763DCD68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397" y="236922"/>
            <a:ext cx="9212036" cy="413034"/>
          </a:xfrm>
        </p:spPr>
        <p:txBody>
          <a:bodyPr vert="horz" rIns="91440">
            <a:noAutofit/>
          </a:bodyPr>
          <a:lstStyle/>
          <a:p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重点工作三：经营分析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D70CE12-75F4-9841-26B2-3D3F3D55CA43}"/>
              </a:ext>
            </a:extLst>
          </p:cNvPr>
          <p:cNvSpPr txBox="1"/>
          <p:nvPr/>
        </p:nvSpPr>
        <p:spPr>
          <a:xfrm>
            <a:off x="378636" y="678592"/>
            <a:ext cx="898273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项目背景：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各业务团队追求目标达成情况，没有关注到达成过程中产生的风险点，需要通过经营分析来协助业务定位问题和指导业务走向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25A2DDD-9262-E34E-3BAB-97BD7DD0CDEA}"/>
              </a:ext>
            </a:extLst>
          </p:cNvPr>
          <p:cNvSpPr txBox="1"/>
          <p:nvPr/>
        </p:nvSpPr>
        <p:spPr>
          <a:xfrm>
            <a:off x="378636" y="1307069"/>
            <a:ext cx="86228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主要工作：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从低频整体收入出发，在团队、新老人、角色等维度进行下钻分析，找到不同团队存在的风险点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03DFBED-20E6-DB2E-E186-DBD265074DFB}"/>
              </a:ext>
            </a:extLst>
          </p:cNvPr>
          <p:cNvSpPr txBox="1"/>
          <p:nvPr/>
        </p:nvSpPr>
        <p:spPr>
          <a:xfrm>
            <a:off x="378636" y="1784882"/>
            <a:ext cx="60580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亮点：业务分析</a:t>
            </a:r>
            <a:r>
              <a:rPr kumimoji="1" lang="en-US" altLang="zh-CN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-&gt;</a:t>
            </a:r>
            <a:r>
              <a:rPr kumimoji="1" lang="zh-CN" altLang="en-US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风险点定位</a:t>
            </a:r>
            <a:r>
              <a:rPr kumimoji="1" lang="en-US" altLang="zh-CN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-&gt;BP</a:t>
            </a:r>
            <a:r>
              <a:rPr kumimoji="1" lang="zh-CN" altLang="en-US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同步</a:t>
            </a:r>
            <a:r>
              <a:rPr kumimoji="1" lang="en-US" altLang="zh-CN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-&gt;</a:t>
            </a:r>
            <a:r>
              <a:rPr kumimoji="1" lang="zh-CN" altLang="en-US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绩效策略调整</a:t>
            </a:r>
            <a:r>
              <a:rPr kumimoji="1" lang="en-US" altLang="zh-CN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-&gt;</a:t>
            </a:r>
            <a:r>
              <a:rPr kumimoji="1" lang="zh-CN" altLang="en-US" sz="1400" dirty="0">
                <a:solidFill>
                  <a:schemeClr val="accent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持续数据监控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3907720E-8A57-EA3B-B625-8726987590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0658" y="2505693"/>
            <a:ext cx="2683199" cy="283226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A0E65400-8EBE-1C42-5E45-66702A6E04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70816" y="2505693"/>
            <a:ext cx="2106471" cy="2832265"/>
          </a:xfrm>
          <a:prstGeom prst="rect">
            <a:avLst/>
          </a:prstGeom>
        </p:spPr>
      </p:pic>
      <p:sp>
        <p:nvSpPr>
          <p:cNvPr id="11" name="右箭头 10">
            <a:extLst>
              <a:ext uri="{FF2B5EF4-FFF2-40B4-BE49-F238E27FC236}">
                <a16:creationId xmlns:a16="http://schemas.microsoft.com/office/drawing/2014/main" id="{7AB8BF3A-0652-FCE7-A6AF-D159CAA9B80B}"/>
              </a:ext>
            </a:extLst>
          </p:cNvPr>
          <p:cNvSpPr/>
          <p:nvPr/>
        </p:nvSpPr>
        <p:spPr>
          <a:xfrm>
            <a:off x="5324246" y="3760724"/>
            <a:ext cx="446376" cy="3222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3243DA03-8BA1-D0DC-743A-15BB5DD035A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7581" y="2505693"/>
            <a:ext cx="2552598" cy="2832265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1B70C8AA-BD12-24B1-8C75-B0D77C2EF76B}"/>
              </a:ext>
            </a:extLst>
          </p:cNvPr>
          <p:cNvSpPr txBox="1"/>
          <p:nvPr/>
        </p:nvSpPr>
        <p:spPr>
          <a:xfrm>
            <a:off x="1825692" y="5405747"/>
            <a:ext cx="1804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业务分析，问题定位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54CC994A-BFF2-B40D-CAE9-DE1AB2380264}"/>
              </a:ext>
            </a:extLst>
          </p:cNvPr>
          <p:cNvSpPr txBox="1"/>
          <p:nvPr/>
        </p:nvSpPr>
        <p:spPr>
          <a:xfrm>
            <a:off x="6611487" y="5405746"/>
            <a:ext cx="11647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风险点输出</a:t>
            </a:r>
          </a:p>
        </p:txBody>
      </p:sp>
      <p:sp>
        <p:nvSpPr>
          <p:cNvPr id="2" name="右箭头 1">
            <a:extLst>
              <a:ext uri="{FF2B5EF4-FFF2-40B4-BE49-F238E27FC236}">
                <a16:creationId xmlns:a16="http://schemas.microsoft.com/office/drawing/2014/main" id="{64B223CD-4BC0-B628-9B10-78B94D4851F7}"/>
              </a:ext>
            </a:extLst>
          </p:cNvPr>
          <p:cNvSpPr/>
          <p:nvPr/>
        </p:nvSpPr>
        <p:spPr>
          <a:xfrm>
            <a:off x="8617138" y="3760724"/>
            <a:ext cx="446376" cy="3222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DC6504A-D690-94DF-D621-E68255743DD5}"/>
              </a:ext>
            </a:extLst>
          </p:cNvPr>
          <p:cNvSpPr txBox="1"/>
          <p:nvPr/>
        </p:nvSpPr>
        <p:spPr>
          <a:xfrm>
            <a:off x="9792601" y="5419927"/>
            <a:ext cx="13817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绩效策略调整</a:t>
            </a: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D9EF3593-3AF5-519A-466A-BC07807BB7D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98340" y="2505693"/>
            <a:ext cx="2935765" cy="2832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2151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C0A9C7-2496-CA99-C932-59CD00F5EE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A99269C-11EA-DDB2-04B1-849A3BCB575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007C45-88A4-92CA-7615-5FAF1F175D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标题 32">
            <a:extLst>
              <a:ext uri="{FF2B5EF4-FFF2-40B4-BE49-F238E27FC236}">
                <a16:creationId xmlns:a16="http://schemas.microsoft.com/office/drawing/2014/main" id="{52119010-A3EA-8883-116E-D37856550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397" y="236922"/>
            <a:ext cx="9212036" cy="413034"/>
          </a:xfrm>
        </p:spPr>
        <p:txBody>
          <a:bodyPr vert="horz" rIns="91440">
            <a:noAutofit/>
          </a:bodyPr>
          <a:lstStyle/>
          <a:p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其他工作内容</a:t>
            </a:r>
          </a:p>
        </p:txBody>
      </p:sp>
      <p:cxnSp>
        <p:nvCxnSpPr>
          <p:cNvPr id="2" name="直接连接符 14">
            <a:extLst>
              <a:ext uri="{FF2B5EF4-FFF2-40B4-BE49-F238E27FC236}">
                <a16:creationId xmlns:a16="http://schemas.microsoft.com/office/drawing/2014/main" id="{47AE3642-3126-1DCC-CDB1-D1434F19764D}"/>
              </a:ext>
            </a:extLst>
          </p:cNvPr>
          <p:cNvCxnSpPr>
            <a:cxnSpLocks/>
          </p:cNvCxnSpPr>
          <p:nvPr/>
        </p:nvCxnSpPr>
        <p:spPr>
          <a:xfrm>
            <a:off x="5995770" y="236922"/>
            <a:ext cx="0" cy="6188262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D77DCA02-4DB6-15F1-82B2-2093FD5EEEA5}"/>
              </a:ext>
            </a:extLst>
          </p:cNvPr>
          <p:cNvSpPr txBox="1"/>
          <p:nvPr/>
        </p:nvSpPr>
        <p:spPr>
          <a:xfrm>
            <a:off x="117797" y="825969"/>
            <a:ext cx="52958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荣誉激励数据支持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58E1563D-2261-AC89-9FD8-F00E42A7A744}"/>
              </a:ext>
            </a:extLst>
          </p:cNvPr>
          <p:cNvSpPr txBox="1"/>
          <p:nvPr/>
        </p:nvSpPr>
        <p:spPr>
          <a:xfrm>
            <a:off x="117797" y="3693574"/>
            <a:ext cx="5295877" cy="308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800"/>
              </a:lnSpc>
              <a:spcBef>
                <a:spcPts val="600"/>
              </a:spcBef>
            </a:pP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年费政策红包方案测算</a:t>
            </a:r>
            <a:endParaRPr lang="en-US" altLang="zh-CN" sz="1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E46367C-13B1-84EB-A1FB-2CD77511121C}"/>
              </a:ext>
            </a:extLst>
          </p:cNvPr>
          <p:cNvSpPr/>
          <p:nvPr/>
        </p:nvSpPr>
        <p:spPr>
          <a:xfrm>
            <a:off x="183687" y="3970573"/>
            <a:ext cx="591891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产出：年费政策红包数学模型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测算结果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1203C26-314C-A4F9-FD95-6E5057671F5E}"/>
              </a:ext>
            </a:extLst>
          </p:cNvPr>
          <p:cNvSpPr/>
          <p:nvPr/>
        </p:nvSpPr>
        <p:spPr>
          <a:xfrm>
            <a:off x="183687" y="1133746"/>
            <a:ext cx="577685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出：激励播报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看板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BB4E11EA-3F1F-5CD4-AA03-DF6AD23CCD3B}"/>
              </a:ext>
            </a:extLst>
          </p:cNvPr>
          <p:cNvSpPr txBox="1"/>
          <p:nvPr/>
        </p:nvSpPr>
        <p:spPr>
          <a:xfrm>
            <a:off x="6102606" y="825968"/>
            <a:ext cx="52958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医疗划分架构方案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4410F382-ADA1-18D9-38B6-F4A0528434A9}"/>
              </a:ext>
            </a:extLst>
          </p:cNvPr>
          <p:cNvSpPr/>
          <p:nvPr/>
        </p:nvSpPr>
        <p:spPr>
          <a:xfrm>
            <a:off x="6231459" y="1133745"/>
            <a:ext cx="577685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出：医疗大区划分架构方案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992C3026-A944-07DB-0816-7A23D11F7795}"/>
              </a:ext>
            </a:extLst>
          </p:cNvPr>
          <p:cNvSpPr txBox="1"/>
          <p:nvPr/>
        </p:nvSpPr>
        <p:spPr>
          <a:xfrm>
            <a:off x="6102606" y="3693958"/>
            <a:ext cx="52958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双周报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报输出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9F2C65A2-A6E6-30DA-0DE7-493DDA7555F7}"/>
              </a:ext>
            </a:extLst>
          </p:cNvPr>
          <p:cNvSpPr/>
          <p:nvPr/>
        </p:nvSpPr>
        <p:spPr>
          <a:xfrm>
            <a:off x="6231459" y="4001735"/>
            <a:ext cx="577685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出：双周报数据模块输出，包括数据趋势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问题归因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F92D03F6-6B7C-271B-3D6B-7B7E854210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3687" y="1525083"/>
            <a:ext cx="2791679" cy="2054152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C8EE31E5-90D2-115E-FA34-45FD411F38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9522" y="4312967"/>
            <a:ext cx="2659957" cy="1990593"/>
          </a:xfrm>
          <a:prstGeom prst="rect">
            <a:avLst/>
          </a:prstGeom>
        </p:spPr>
      </p:pic>
      <p:pic>
        <p:nvPicPr>
          <p:cNvPr id="23" name="图片 22">
            <a:extLst>
              <a:ext uri="{FF2B5EF4-FFF2-40B4-BE49-F238E27FC236}">
                <a16:creationId xmlns:a16="http://schemas.microsoft.com/office/drawing/2014/main" id="{8989CD79-9605-4C2F-CE97-0005986A8E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51547" y="1555861"/>
            <a:ext cx="2832813" cy="2023374"/>
          </a:xfrm>
          <a:prstGeom prst="rect">
            <a:avLst/>
          </a:prstGeom>
        </p:spPr>
      </p:pic>
      <p:pic>
        <p:nvPicPr>
          <p:cNvPr id="26" name="图片 25">
            <a:extLst>
              <a:ext uri="{FF2B5EF4-FFF2-40B4-BE49-F238E27FC236}">
                <a16:creationId xmlns:a16="http://schemas.microsoft.com/office/drawing/2014/main" id="{AC0DBDE4-F02B-073E-2826-955E07E45B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75366" y="4309511"/>
            <a:ext cx="2809657" cy="1990593"/>
          </a:xfrm>
          <a:prstGeom prst="rect">
            <a:avLst/>
          </a:prstGeom>
        </p:spPr>
      </p:pic>
      <p:pic>
        <p:nvPicPr>
          <p:cNvPr id="27" name="图片 26">
            <a:extLst>
              <a:ext uri="{FF2B5EF4-FFF2-40B4-BE49-F238E27FC236}">
                <a16:creationId xmlns:a16="http://schemas.microsoft.com/office/drawing/2014/main" id="{A74EBDAF-B629-0672-E319-B4634D8264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56726" y="1441522"/>
            <a:ext cx="2351158" cy="2161165"/>
          </a:xfrm>
          <a:prstGeom prst="rect">
            <a:avLst/>
          </a:prstGeom>
        </p:spPr>
      </p:pic>
      <p:pic>
        <p:nvPicPr>
          <p:cNvPr id="29" name="图片 28">
            <a:extLst>
              <a:ext uri="{FF2B5EF4-FFF2-40B4-BE49-F238E27FC236}">
                <a16:creationId xmlns:a16="http://schemas.microsoft.com/office/drawing/2014/main" id="{DAA89219-D57A-B3DD-69FB-2E7C45B9EEF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964182" y="1441522"/>
            <a:ext cx="2032999" cy="2161165"/>
          </a:xfrm>
          <a:prstGeom prst="rect">
            <a:avLst/>
          </a:prstGeom>
        </p:spPr>
      </p:pic>
      <p:pic>
        <p:nvPicPr>
          <p:cNvPr id="31" name="图片 30">
            <a:extLst>
              <a:ext uri="{FF2B5EF4-FFF2-40B4-BE49-F238E27FC236}">
                <a16:creationId xmlns:a16="http://schemas.microsoft.com/office/drawing/2014/main" id="{B401488A-FEB6-5361-6164-AA8B761F717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31459" y="4293930"/>
            <a:ext cx="2502965" cy="2021754"/>
          </a:xfrm>
          <a:prstGeom prst="rect">
            <a:avLst/>
          </a:prstGeom>
        </p:spPr>
      </p:pic>
      <p:pic>
        <p:nvPicPr>
          <p:cNvPr id="32" name="图片 31">
            <a:extLst>
              <a:ext uri="{FF2B5EF4-FFF2-40B4-BE49-F238E27FC236}">
                <a16:creationId xmlns:a16="http://schemas.microsoft.com/office/drawing/2014/main" id="{26FA0547-B8F5-FD75-2DF5-579E88A8613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64182" y="4380367"/>
            <a:ext cx="2143385" cy="19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1211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2910840" y="1748155"/>
            <a:ext cx="2451735" cy="2414270"/>
          </a:xfrm>
          <a:prstGeom prst="rect">
            <a:avLst/>
          </a:prstGeom>
          <a:noFill/>
          <a:ln w="28575">
            <a:solidFill>
              <a:srgbClr val="A41F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2266315" y="1935480"/>
            <a:ext cx="2674620" cy="2701290"/>
          </a:xfrm>
          <a:prstGeom prst="rect">
            <a:avLst/>
          </a:prstGeom>
          <a:solidFill>
            <a:srgbClr val="A41F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 flipV="1">
            <a:off x="4567555" y="1112520"/>
            <a:ext cx="870585" cy="87058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 flipV="1">
            <a:off x="4372610" y="1453515"/>
            <a:ext cx="568325" cy="56832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 flipV="1">
            <a:off x="4625340" y="1344930"/>
            <a:ext cx="728980" cy="72834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 flipV="1">
            <a:off x="4156075" y="1453515"/>
            <a:ext cx="587375" cy="58737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 flipV="1">
            <a:off x="4985945" y="1209710"/>
            <a:ext cx="135424" cy="13542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 flipV="1">
            <a:off x="2404477" y="4579501"/>
            <a:ext cx="405864" cy="405864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 flipV="1">
            <a:off x="1777365" y="4270375"/>
            <a:ext cx="1133475" cy="1134110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/>
        </p:nvCxnSpPr>
        <p:spPr>
          <a:xfrm flipV="1">
            <a:off x="2153375" y="5057373"/>
            <a:ext cx="202932" cy="202932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 flipV="1">
            <a:off x="2407769" y="4578478"/>
            <a:ext cx="595880" cy="580361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 flipV="1">
            <a:off x="2180338" y="5216485"/>
            <a:ext cx="191458" cy="202932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 flipV="1">
            <a:off x="2659796" y="4566585"/>
            <a:ext cx="479459" cy="490788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/>
          <p:cNvSpPr txBox="1"/>
          <p:nvPr/>
        </p:nvSpPr>
        <p:spPr>
          <a:xfrm>
            <a:off x="3003649" y="2355942"/>
            <a:ext cx="1107996" cy="1862048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altLang="zh-CN" sz="11500" spc="300" dirty="0">
                <a:solidFill>
                  <a:srgbClr val="E1DDD2"/>
                </a:solidFill>
                <a:latin typeface="字魂35号-经典雅黑" panose="00000500000000000000" pitchFamily="2" charset="-122"/>
                <a:ea typeface="字魂35号-经典雅黑" panose="00000500000000000000" pitchFamily="2" charset="-122"/>
                <a:sym typeface="+mn-ea"/>
              </a:rPr>
              <a:t>3</a:t>
            </a:r>
            <a:endParaRPr lang="en-US" altLang="zh-CN" sz="11500" spc="300" dirty="0">
              <a:solidFill>
                <a:srgbClr val="E1DDD2"/>
              </a:solidFill>
              <a:effectLst/>
              <a:latin typeface="字魂35号-经典雅黑" panose="00000500000000000000" pitchFamily="2" charset="-122"/>
              <a:ea typeface="字魂35号-经典雅黑" panose="00000500000000000000" pitchFamily="2" charset="-122"/>
              <a:sym typeface="+mn-ea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6007100" y="2673333"/>
            <a:ext cx="3352200" cy="92333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 sz="5400" spc="300" dirty="0">
                <a:latin typeface="字魂57号-创细黑-Regular" panose="00000500000000000000" charset="-122"/>
                <a:ea typeface="字魂57号-创细黑-Regular" panose="00000500000000000000" charset="-122"/>
                <a:cs typeface="字魂35号-经典雅黑" panose="00000500000000000000" charset="-122"/>
                <a:sym typeface="+mn-ea"/>
              </a:rPr>
              <a:t> 思考规划</a:t>
            </a:r>
            <a:endParaRPr lang="zh-CN" altLang="en-US" sz="5400" spc="300" dirty="0">
              <a:effectLst/>
              <a:latin typeface="字魂57号-创细黑-Regular" panose="00000500000000000000" charset="-122"/>
              <a:ea typeface="字魂57号-创细黑-Regular" panose="00000500000000000000" charset="-122"/>
              <a:cs typeface="字魂35号-经典雅黑" panose="00000500000000000000" charset="-122"/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808761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89000" y="5974932"/>
            <a:ext cx="10414000" cy="695325"/>
          </a:xfrm>
          <a:prstGeom prst="rect">
            <a:avLst/>
          </a:prstGeom>
          <a:solidFill>
            <a:schemeClr val="accent5"/>
          </a:solidFill>
          <a:ln w="28575">
            <a:noFill/>
            <a:miter lim="800000"/>
          </a:ln>
          <a:effectLst/>
        </p:spPr>
        <p:txBody>
          <a:bodyPr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9pPr>
          </a:lstStyle>
          <a:p>
            <a:pPr algn="ctr"/>
            <a:r>
              <a:rPr lang="zh-CN" altLang="en-US" sz="2000" b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愿景：数据驱动业务增长</a:t>
            </a:r>
          </a:p>
        </p:txBody>
      </p:sp>
      <p:sp>
        <p:nvSpPr>
          <p:cNvPr id="6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89000" y="809625"/>
            <a:ext cx="10414000" cy="1209040"/>
          </a:xfrm>
          <a:prstGeom prst="triangle">
            <a:avLst>
              <a:gd name="adj" fmla="val 50000"/>
            </a:avLst>
          </a:prstGeom>
          <a:solidFill>
            <a:schemeClr val="accent5"/>
          </a:solidFill>
          <a:ln w="28575">
            <a:noFill/>
            <a:miter lim="800000"/>
          </a:ln>
          <a:effectLst/>
        </p:spPr>
        <p:txBody>
          <a:bodyPr wrap="none"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9pPr>
          </a:lstStyle>
          <a:p>
            <a:pPr algn="ctr"/>
            <a:r>
              <a:rPr lang="zh-CN" altLang="en-US" sz="2000" b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顶层</a:t>
            </a:r>
          </a:p>
          <a:p>
            <a:pPr algn="ctr"/>
            <a:r>
              <a:rPr lang="zh-CN" altLang="en-US" sz="2000" b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决策</a:t>
            </a:r>
            <a:r>
              <a:rPr lang="en-US" altLang="zh-CN" sz="2000" b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lang="zh-CN" altLang="en-US" sz="2000" b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规划</a:t>
            </a:r>
            <a:r>
              <a:rPr lang="en-US" altLang="zh-CN" sz="2000" b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lang="zh-CN" altLang="en-US" sz="2000" b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战略方向</a:t>
            </a:r>
            <a:endParaRPr lang="en-US" altLang="zh-CN" sz="2000" b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endParaRPr lang="en-US" altLang="zh-CN" sz="2000" b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id="{F441974E-0CFD-C0AA-C981-06158E4B10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40840" y="2166282"/>
            <a:ext cx="9018270" cy="114460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683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BDFB02D6-988C-1835-5816-4A62D02FF9B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905769" y="2556659"/>
            <a:ext cx="1106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业务团队</a:t>
            </a:r>
          </a:p>
        </p:txBody>
      </p:sp>
      <p:sp>
        <p:nvSpPr>
          <p:cNvPr id="20" name="矩形: 圆角 160">
            <a:extLst>
              <a:ext uri="{FF2B5EF4-FFF2-40B4-BE49-F238E27FC236}">
                <a16:creationId xmlns:a16="http://schemas.microsoft.com/office/drawing/2014/main" id="{F20709AF-BBF8-746B-EC1E-02094E582B1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8635" y="2258877"/>
            <a:ext cx="2994578" cy="97011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  <a:cs typeface="PingFang SC Regular" panose="020B0400000000000000" charset="-122"/>
              </a:rPr>
              <a:t>    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  <a:cs typeface="PingFang SC Regular" panose="020B0400000000000000" charset="-122"/>
            </a:endParaRPr>
          </a:p>
          <a:p>
            <a:pPr algn="ctr">
              <a:lnSpc>
                <a:spcPct val="120000"/>
              </a:lnSpc>
              <a:defRPr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  <a:cs typeface="PingFang SC Regular" panose="020B0400000000000000" charset="-122"/>
              </a:rPr>
              <a:t>  推动数据驱动工作文化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  <a:cs typeface="PingFang SC Regular" panose="020B0400000000000000" charset="-122"/>
            </a:endParaRPr>
          </a:p>
          <a:p>
            <a:pPr algn="ctr">
              <a:lnSpc>
                <a:spcPct val="120000"/>
              </a:lnSpc>
              <a:defRPr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  <a:cs typeface="PingFang SC Regular" panose="020B0400000000000000" charset="-122"/>
              </a:rPr>
              <a:t>  鼓励团队基于数据决策</a:t>
            </a:r>
          </a:p>
        </p:txBody>
      </p:sp>
      <p:sp>
        <p:nvSpPr>
          <p:cNvPr id="21" name="矩形: 圆角 161">
            <a:extLst>
              <a:ext uri="{FF2B5EF4-FFF2-40B4-BE49-F238E27FC236}">
                <a16:creationId xmlns:a16="http://schemas.microsoft.com/office/drawing/2014/main" id="{2EABA30F-5C57-ADC4-61E8-70AA20FBDF4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208634" y="2266891"/>
            <a:ext cx="2994577" cy="30335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数据驱动</a:t>
            </a:r>
          </a:p>
        </p:txBody>
      </p:sp>
      <p:sp>
        <p:nvSpPr>
          <p:cNvPr id="43" name="矩形: 圆角 160">
            <a:extLst>
              <a:ext uri="{FF2B5EF4-FFF2-40B4-BE49-F238E27FC236}">
                <a16:creationId xmlns:a16="http://schemas.microsoft.com/office/drawing/2014/main" id="{58C1E08E-3708-83E8-E03E-0A28D57520D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054193" y="2258877"/>
            <a:ext cx="2994581" cy="97011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  <a:cs typeface="PingFang SC Regular" panose="020B0400000000000000" charset="-122"/>
            </a:endParaRPr>
          </a:p>
          <a:p>
            <a:pPr algn="ctr">
              <a:lnSpc>
                <a:spcPct val="120000"/>
              </a:lnSpc>
              <a:defRPr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  <a:cs typeface="PingFang SC Regular" panose="020B0400000000000000" charset="-122"/>
              </a:rPr>
              <a:t>揭示隐藏商业机会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  <a:cs typeface="PingFang SC Regular" panose="020B0400000000000000" charset="-122"/>
            </a:endParaRPr>
          </a:p>
          <a:p>
            <a:pPr algn="ctr">
              <a:lnSpc>
                <a:spcPct val="120000"/>
              </a:lnSpc>
              <a:defRPr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  <a:cs typeface="PingFang SC Regular" panose="020B0400000000000000" charset="-122"/>
              </a:rPr>
              <a:t>协助团队业务完成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  <a:cs typeface="PingFang SC Regular" panose="020B0400000000000000" charset="-122"/>
            </a:endParaRPr>
          </a:p>
        </p:txBody>
      </p:sp>
      <p:sp>
        <p:nvSpPr>
          <p:cNvPr id="44" name="矩形: 圆角 161">
            <a:extLst>
              <a:ext uri="{FF2B5EF4-FFF2-40B4-BE49-F238E27FC236}">
                <a16:creationId xmlns:a16="http://schemas.microsoft.com/office/drawing/2014/main" id="{C2E7ACD4-630E-0DD0-C7C2-5A877A85E76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054193" y="2266891"/>
            <a:ext cx="2994581" cy="30335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业务策略</a:t>
            </a: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78C79F6C-B1B0-5296-5D30-468CDC20059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640840" y="3458078"/>
            <a:ext cx="9018270" cy="114460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683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65794566-A2FC-2B2A-DF30-212D5A4BEE8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905769" y="3848455"/>
            <a:ext cx="1106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销运中台</a:t>
            </a:r>
          </a:p>
        </p:txBody>
      </p:sp>
      <p:sp>
        <p:nvSpPr>
          <p:cNvPr id="47" name="圆角矩形 46">
            <a:extLst>
              <a:ext uri="{FF2B5EF4-FFF2-40B4-BE49-F238E27FC236}">
                <a16:creationId xmlns:a16="http://schemas.microsoft.com/office/drawing/2014/main" id="{3B903C62-8329-038E-7EE3-1E4D597578E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640840" y="4708405"/>
            <a:ext cx="4455160" cy="114460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683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9" name="圆角矩形 48">
            <a:extLst>
              <a:ext uri="{FF2B5EF4-FFF2-40B4-BE49-F238E27FC236}">
                <a16:creationId xmlns:a16="http://schemas.microsoft.com/office/drawing/2014/main" id="{D6743500-1F02-4F89-32B9-FF4EE3BF34D4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203215" y="4708405"/>
            <a:ext cx="4455160" cy="114460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683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E6413201-0DA2-8C96-D00A-706469835D6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311244" y="4782106"/>
            <a:ext cx="1106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数据基建</a:t>
            </a: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6F73C9B4-3730-5D45-F762-FEB2F9D314C3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7814420" y="4782106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数据工具</a:t>
            </a:r>
          </a:p>
        </p:txBody>
      </p:sp>
      <p:sp>
        <p:nvSpPr>
          <p:cNvPr id="54" name="矩形: 圆角 160">
            <a:extLst>
              <a:ext uri="{FF2B5EF4-FFF2-40B4-BE49-F238E27FC236}">
                <a16:creationId xmlns:a16="http://schemas.microsoft.com/office/drawing/2014/main" id="{441996BD-D740-9FD2-65CA-8F115A0D568F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3208635" y="3552980"/>
            <a:ext cx="2994580" cy="97011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  <a:cs typeface="PingFang SC Regular" panose="020B0400000000000000" charset="-122"/>
              </a:rPr>
              <a:t>问题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  <a:cs typeface="PingFang SC Regular" panose="020B0400000000000000" charset="-122"/>
              </a:rPr>
              <a:t>&amp;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  <a:cs typeface="PingFang SC Regular" panose="020B0400000000000000" charset="-122"/>
              </a:rPr>
              <a:t>风险的发现方</a:t>
            </a:r>
          </a:p>
        </p:txBody>
      </p:sp>
      <p:sp>
        <p:nvSpPr>
          <p:cNvPr id="55" name="矩形: 圆角 161">
            <a:extLst>
              <a:ext uri="{FF2B5EF4-FFF2-40B4-BE49-F238E27FC236}">
                <a16:creationId xmlns:a16="http://schemas.microsoft.com/office/drawing/2014/main" id="{3F7B264F-4355-BBE9-F17B-5030BDB504E5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3208634" y="3560994"/>
            <a:ext cx="2994579" cy="30335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中台大脑</a:t>
            </a:r>
          </a:p>
        </p:txBody>
      </p:sp>
      <p:sp>
        <p:nvSpPr>
          <p:cNvPr id="57" name="矩形: 圆角 160">
            <a:extLst>
              <a:ext uri="{FF2B5EF4-FFF2-40B4-BE49-F238E27FC236}">
                <a16:creationId xmlns:a16="http://schemas.microsoft.com/office/drawing/2014/main" id="{4677191E-3B27-DDFC-8A30-4940C623451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054193" y="3537222"/>
            <a:ext cx="2994580" cy="97011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策略输出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  <a:cs typeface="PingFang SC Regular" panose="020B0400000000000000" charset="-122"/>
              </a:rPr>
              <a:t>的输出方</a:t>
            </a:r>
          </a:p>
        </p:txBody>
      </p:sp>
      <p:sp>
        <p:nvSpPr>
          <p:cNvPr id="58" name="矩形: 圆角 161">
            <a:extLst>
              <a:ext uri="{FF2B5EF4-FFF2-40B4-BE49-F238E27FC236}">
                <a16:creationId xmlns:a16="http://schemas.microsoft.com/office/drawing/2014/main" id="{868D4FB4-C61A-24C8-B155-B7B87EC24C6A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054193" y="3545236"/>
            <a:ext cx="2994580" cy="30335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SC Regular" panose="020B0400000000000000" charset="-122"/>
              </a:rPr>
              <a:t>业务洞察</a:t>
            </a:r>
            <a:endParaRPr lang="zh-CN" altLang="en-US" sz="14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Shape 188">
            <a:extLst>
              <a:ext uri="{FF2B5EF4-FFF2-40B4-BE49-F238E27FC236}">
                <a16:creationId xmlns:a16="http://schemas.microsoft.com/office/drawing/2014/main" id="{017D73F3-FCA9-C561-B244-29A2A117547F}"/>
              </a:ext>
            </a:extLst>
          </p:cNvPr>
          <p:cNvSpPr/>
          <p:nvPr/>
        </p:nvSpPr>
        <p:spPr>
          <a:xfrm>
            <a:off x="314344" y="275619"/>
            <a:ext cx="2190861" cy="359073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ctr">
            <a:spAutoFit/>
          </a:bodyPr>
          <a:lstStyle>
            <a:lvl1pPr algn="l">
              <a:defRPr sz="7000">
                <a:solidFill>
                  <a:srgbClr val="B80638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1pPr>
          </a:lstStyle>
          <a:p>
            <a:r>
              <a:rPr lang="en-US" altLang="zh-CN" sz="2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I</a:t>
            </a:r>
            <a:r>
              <a:rPr lang="zh-CN" altLang="en-US" sz="2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定位</a:t>
            </a:r>
            <a:r>
              <a:rPr lang="en-US" altLang="zh-CN" sz="2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lang="zh-CN" altLang="en-US" sz="2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工作：</a:t>
            </a:r>
            <a:endParaRPr lang="en-US" altLang="zh-CN" sz="2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矩形 47">
            <a:extLst>
              <a:ext uri="{FF2B5EF4-FFF2-40B4-BE49-F238E27FC236}">
                <a16:creationId xmlns:a16="http://schemas.microsoft.com/office/drawing/2014/main" id="{D83F53CE-078F-BA0A-BD3C-305A1CE3E6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769" y="5151438"/>
            <a:ext cx="404409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1" tIns="45716" rIns="91431" bIns="45716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1400" kern="0" dirty="0">
                <a:latin typeface="Microsoft YaHei" panose="020B0503020204020204" pitchFamily="34" charset="-122"/>
                <a:ea typeface="Microsoft YaHei" panose="020B0503020204020204" pitchFamily="34" charset="-122"/>
                <a:sym typeface="微软雅黑" panose="020B0503020204020204" pitchFamily="34" charset="-122"/>
              </a:rPr>
              <a:t>团队内部</a:t>
            </a:r>
            <a:r>
              <a:rPr kumimoji="1" lang="zh-CN" altLang="en-US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微软雅黑" panose="020B0503020204020204" pitchFamily="34" charset="-122"/>
              </a:rPr>
              <a:t>数据的整合平台</a:t>
            </a:r>
            <a:r>
              <a:rPr lang="zh-CN" altLang="en-US" sz="1400" kern="0" dirty="0">
                <a:latin typeface="Microsoft YaHei" panose="020B0503020204020204" pitchFamily="34" charset="-122"/>
                <a:ea typeface="Microsoft YaHei" panose="020B0503020204020204" pitchFamily="34" charset="-122"/>
                <a:sym typeface="微软雅黑" panose="020B0503020204020204" pitchFamily="34" charset="-122"/>
              </a:rPr>
              <a:t>，统一数据口径。确保数据的实时性、准确性、有效性</a:t>
            </a: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6673100-5184-F7C2-9F9A-B7691272CF56}"/>
              </a:ext>
            </a:extLst>
          </p:cNvPr>
          <p:cNvSpPr txBox="1"/>
          <p:nvPr/>
        </p:nvSpPr>
        <p:spPr>
          <a:xfrm>
            <a:off x="6214792" y="5140455"/>
            <a:ext cx="4336368" cy="5548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微软雅黑" panose="020B0503020204020204" pitchFamily="34" charset="-122"/>
              </a:rPr>
              <a:t>系统化</a:t>
            </a:r>
            <a:r>
              <a:rPr lang="zh-CN" altLang="en-US" sz="1400" kern="0" noProof="0" dirty="0">
                <a:latin typeface="Microsoft YaHei" panose="020B0503020204020204" pitchFamily="34" charset="-122"/>
                <a:ea typeface="Microsoft YaHei" panose="020B0503020204020204" pitchFamily="34" charset="-122"/>
                <a:sym typeface="微软雅黑" panose="020B0503020204020204" pitchFamily="34" charset="-122"/>
              </a:rPr>
              <a:t>搭建有效、简洁的业务数据指标体系。协同业务监控数据、发现问题、定位问题</a:t>
            </a: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sym typeface="微软雅黑" panose="020B0503020204020204" pitchFamily="34" charset="-122"/>
            </a:endParaRPr>
          </a:p>
        </p:txBody>
      </p:sp>
      <p:cxnSp>
        <p:nvCxnSpPr>
          <p:cNvPr id="12" name="直线箭头连接符 11">
            <a:extLst>
              <a:ext uri="{FF2B5EF4-FFF2-40B4-BE49-F238E27FC236}">
                <a16:creationId xmlns:a16="http://schemas.microsoft.com/office/drawing/2014/main" id="{8DBBE3D4-393F-2990-F8A1-E6518CABACD5}"/>
              </a:ext>
            </a:extLst>
          </p:cNvPr>
          <p:cNvCxnSpPr>
            <a:cxnSpLocks/>
          </p:cNvCxnSpPr>
          <p:nvPr/>
        </p:nvCxnSpPr>
        <p:spPr>
          <a:xfrm>
            <a:off x="438411" y="4708405"/>
            <a:ext cx="0" cy="114460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线箭头连接符 13">
            <a:extLst>
              <a:ext uri="{FF2B5EF4-FFF2-40B4-BE49-F238E27FC236}">
                <a16:creationId xmlns:a16="http://schemas.microsoft.com/office/drawing/2014/main" id="{D8DF3747-0722-41CA-111A-119E73EA62E7}"/>
              </a:ext>
            </a:extLst>
          </p:cNvPr>
          <p:cNvCxnSpPr>
            <a:cxnSpLocks/>
          </p:cNvCxnSpPr>
          <p:nvPr/>
        </p:nvCxnSpPr>
        <p:spPr>
          <a:xfrm flipH="1">
            <a:off x="438411" y="2166282"/>
            <a:ext cx="1193" cy="234105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文本框 15">
            <a:extLst>
              <a:ext uri="{FF2B5EF4-FFF2-40B4-BE49-F238E27FC236}">
                <a16:creationId xmlns:a16="http://schemas.microsoft.com/office/drawing/2014/main" id="{CF818A00-7E1F-F96D-6973-D9ECED75A9A6}"/>
              </a:ext>
            </a:extLst>
          </p:cNvPr>
          <p:cNvSpPr txBox="1"/>
          <p:nvPr/>
        </p:nvSpPr>
        <p:spPr>
          <a:xfrm>
            <a:off x="551145" y="2925125"/>
            <a:ext cx="41549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助</a:t>
            </a:r>
            <a:endParaRPr kumimoji="1" lang="en-US" altLang="zh-CN" dirty="0"/>
          </a:p>
          <a:p>
            <a:r>
              <a:rPr kumimoji="1" lang="zh-CN" altLang="en-US" dirty="0"/>
              <a:t>业</a:t>
            </a:r>
            <a:endParaRPr kumimoji="1" lang="en-US" altLang="zh-CN" dirty="0"/>
          </a:p>
          <a:p>
            <a:r>
              <a:rPr kumimoji="1" lang="zh-CN" altLang="en-US" dirty="0"/>
              <a:t>务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C8D965F9-2301-D392-915D-AB5839A39E96}"/>
              </a:ext>
            </a:extLst>
          </p:cNvPr>
          <p:cNvSpPr txBox="1"/>
          <p:nvPr/>
        </p:nvSpPr>
        <p:spPr>
          <a:xfrm>
            <a:off x="551145" y="4782106"/>
            <a:ext cx="41549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用</a:t>
            </a:r>
            <a:endParaRPr kumimoji="1" lang="en-US" altLang="zh-CN" dirty="0"/>
          </a:p>
          <a:p>
            <a:r>
              <a:rPr kumimoji="1" lang="zh-CN" altLang="en-US" dirty="0"/>
              <a:t>数</a:t>
            </a:r>
            <a:endParaRPr kumimoji="1" lang="en-US" altLang="zh-CN" dirty="0"/>
          </a:p>
          <a:p>
            <a:r>
              <a:rPr kumimoji="1" lang="zh-CN" altLang="en-US" dirty="0"/>
              <a:t>据</a:t>
            </a:r>
          </a:p>
        </p:txBody>
      </p:sp>
      <p:cxnSp>
        <p:nvCxnSpPr>
          <p:cNvPr id="24" name="直线箭头连接符 23">
            <a:extLst>
              <a:ext uri="{FF2B5EF4-FFF2-40B4-BE49-F238E27FC236}">
                <a16:creationId xmlns:a16="http://schemas.microsoft.com/office/drawing/2014/main" id="{35983E14-A9F0-9D18-6420-0371D45ACD63}"/>
              </a:ext>
            </a:extLst>
          </p:cNvPr>
          <p:cNvCxnSpPr>
            <a:cxnSpLocks/>
          </p:cNvCxnSpPr>
          <p:nvPr/>
        </p:nvCxnSpPr>
        <p:spPr>
          <a:xfrm>
            <a:off x="438411" y="809625"/>
            <a:ext cx="0" cy="114460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文本框 24">
            <a:extLst>
              <a:ext uri="{FF2B5EF4-FFF2-40B4-BE49-F238E27FC236}">
                <a16:creationId xmlns:a16="http://schemas.microsoft.com/office/drawing/2014/main" id="{5843DD30-B84D-A8AA-05F7-4E8D8FA069A5}"/>
              </a:ext>
            </a:extLst>
          </p:cNvPr>
          <p:cNvSpPr txBox="1"/>
          <p:nvPr/>
        </p:nvSpPr>
        <p:spPr>
          <a:xfrm>
            <a:off x="551145" y="910022"/>
            <a:ext cx="41549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懂</a:t>
            </a:r>
            <a:endParaRPr kumimoji="1" lang="en-US" altLang="zh-CN" dirty="0"/>
          </a:p>
          <a:p>
            <a:r>
              <a:rPr kumimoji="1" lang="zh-CN" altLang="en-US" dirty="0"/>
              <a:t>商</a:t>
            </a:r>
            <a:endParaRPr kumimoji="1" lang="en-US" altLang="zh-CN" dirty="0"/>
          </a:p>
          <a:p>
            <a:r>
              <a:rPr kumimoji="1" lang="zh-CN" altLang="en-US" dirty="0"/>
              <a:t>业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AE9789-1A69-6195-7636-AF48A3ECFB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图示 21">
            <a:extLst>
              <a:ext uri="{FF2B5EF4-FFF2-40B4-BE49-F238E27FC236}">
                <a16:creationId xmlns:a16="http://schemas.microsoft.com/office/drawing/2014/main" id="{26D1201B-4B40-7EE9-F0D1-E229CF3EDB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0529976"/>
              </p:ext>
            </p:extLst>
          </p:nvPr>
        </p:nvGraphicFramePr>
        <p:xfrm>
          <a:off x="-406997" y="1242055"/>
          <a:ext cx="7333891" cy="43738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7" name="Shape 188">
            <a:extLst>
              <a:ext uri="{FF2B5EF4-FFF2-40B4-BE49-F238E27FC236}">
                <a16:creationId xmlns:a16="http://schemas.microsoft.com/office/drawing/2014/main" id="{071D88B5-943C-7D40-7E84-1F564BA4B430}"/>
              </a:ext>
            </a:extLst>
          </p:cNvPr>
          <p:cNvSpPr/>
          <p:nvPr/>
        </p:nvSpPr>
        <p:spPr>
          <a:xfrm>
            <a:off x="281934" y="122598"/>
            <a:ext cx="1590179" cy="359073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defRPr sz="7000">
                <a:solidFill>
                  <a:srgbClr val="B80638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1pPr>
          </a:lstStyle>
          <a:p>
            <a:r>
              <a:rPr lang="zh-CN" altLang="en-US" sz="2000" b="1">
                <a:latin typeface="微软雅黑" panose="020B0503020204020204" pitchFamily="34" charset="-122"/>
                <a:ea typeface="微软雅黑" panose="020B0503020204020204" pitchFamily="34" charset="-122"/>
              </a:rPr>
              <a:t>问题与规划：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5" name="图片 34">
            <a:extLst>
              <a:ext uri="{FF2B5EF4-FFF2-40B4-BE49-F238E27FC236}">
                <a16:creationId xmlns:a16="http://schemas.microsoft.com/office/drawing/2014/main" id="{5120372B-90DD-443B-8521-46B0E2513B4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26895" y="1254581"/>
            <a:ext cx="5265106" cy="4373888"/>
          </a:xfrm>
          <a:prstGeom prst="rect">
            <a:avLst/>
          </a:prstGeom>
        </p:spPr>
      </p:pic>
      <p:sp>
        <p:nvSpPr>
          <p:cNvPr id="36" name="右箭头 35">
            <a:extLst>
              <a:ext uri="{FF2B5EF4-FFF2-40B4-BE49-F238E27FC236}">
                <a16:creationId xmlns:a16="http://schemas.microsoft.com/office/drawing/2014/main" id="{EBE1280C-3E26-1C7F-1BB4-0C5F9BA4191F}"/>
              </a:ext>
            </a:extLst>
          </p:cNvPr>
          <p:cNvSpPr/>
          <p:nvPr/>
        </p:nvSpPr>
        <p:spPr>
          <a:xfrm>
            <a:off x="6480519" y="3267899"/>
            <a:ext cx="446376" cy="3222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8" name="右箭头 37">
            <a:extLst>
              <a:ext uri="{FF2B5EF4-FFF2-40B4-BE49-F238E27FC236}">
                <a16:creationId xmlns:a16="http://schemas.microsoft.com/office/drawing/2014/main" id="{ECAA1B83-D73D-99B2-CAE4-E6F5DF81704F}"/>
              </a:ext>
            </a:extLst>
          </p:cNvPr>
          <p:cNvSpPr/>
          <p:nvPr/>
        </p:nvSpPr>
        <p:spPr>
          <a:xfrm>
            <a:off x="1934260" y="1528868"/>
            <a:ext cx="395581" cy="33750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9" name="右箭头 38">
            <a:extLst>
              <a:ext uri="{FF2B5EF4-FFF2-40B4-BE49-F238E27FC236}">
                <a16:creationId xmlns:a16="http://schemas.microsoft.com/office/drawing/2014/main" id="{A9787533-A1D4-91BF-03AF-993AFB68AC6E}"/>
              </a:ext>
            </a:extLst>
          </p:cNvPr>
          <p:cNvSpPr/>
          <p:nvPr/>
        </p:nvSpPr>
        <p:spPr>
          <a:xfrm>
            <a:off x="4232786" y="1528868"/>
            <a:ext cx="395581" cy="33750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598978619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632909" y="1020129"/>
            <a:ext cx="8155305" cy="2214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800" dirty="0">
                <a:solidFill>
                  <a:schemeClr val="tx1">
                    <a:lumMod val="50000"/>
                    <a:lumOff val="50000"/>
                  </a:schemeClr>
                </a:solidFill>
                <a:latin typeface="Impact" panose="020B0806030902050204" charset="0"/>
              </a:rPr>
              <a:t> </a:t>
            </a:r>
            <a:r>
              <a:rPr lang="en-US" altLang="zh-CN" sz="115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字魂57号-创细黑-Regular" panose="00000500000000000000" pitchFamily="2" charset="-122"/>
                <a:ea typeface="字魂57号-创细黑-Regular" panose="00000500000000000000" pitchFamily="2" charset="-122"/>
              </a:rPr>
              <a:t>THANKS</a:t>
            </a:r>
            <a:r>
              <a:rPr lang="en-US" altLang="zh-CN" sz="13800" dirty="0">
                <a:solidFill>
                  <a:schemeClr val="tx1">
                    <a:lumMod val="50000"/>
                    <a:lumOff val="50000"/>
                  </a:schemeClr>
                </a:solidFill>
                <a:latin typeface="Impact" panose="020B080603090205020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507669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188">
            <a:extLst>
              <a:ext uri="{FF2B5EF4-FFF2-40B4-BE49-F238E27FC236}">
                <a16:creationId xmlns:a16="http://schemas.microsoft.com/office/drawing/2014/main" id="{0DF7B173-03E3-499D-8FFD-1A5FD13D46B9}"/>
              </a:ext>
            </a:extLst>
          </p:cNvPr>
          <p:cNvSpPr/>
          <p:nvPr/>
        </p:nvSpPr>
        <p:spPr>
          <a:xfrm>
            <a:off x="332038" y="323844"/>
            <a:ext cx="1590179" cy="359073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defRPr sz="7000">
                <a:solidFill>
                  <a:srgbClr val="B80638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1pPr>
          </a:lstStyle>
          <a:p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问题与反思：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圆角矩形 56">
            <a:extLst>
              <a:ext uri="{FF2B5EF4-FFF2-40B4-BE49-F238E27FC236}">
                <a16:creationId xmlns:a16="http://schemas.microsoft.com/office/drawing/2014/main" id="{94E57999-436E-46D0-92BE-4059DA093B4C}"/>
              </a:ext>
            </a:extLst>
          </p:cNvPr>
          <p:cNvSpPr/>
          <p:nvPr/>
        </p:nvSpPr>
        <p:spPr>
          <a:xfrm>
            <a:off x="4730570" y="1377330"/>
            <a:ext cx="1429423" cy="710584"/>
          </a:xfrm>
          <a:prstGeom prst="round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F9CF690-A271-40DA-91AC-09F693EA54FC}"/>
              </a:ext>
            </a:extLst>
          </p:cNvPr>
          <p:cNvSpPr txBox="1"/>
          <p:nvPr/>
        </p:nvSpPr>
        <p:spPr>
          <a:xfrm>
            <a:off x="4858142" y="1540261"/>
            <a:ext cx="1174278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solidFill>
                  <a:schemeClr val="bg1"/>
                </a:solidFill>
              </a:rPr>
              <a:t>问题</a:t>
            </a:r>
          </a:p>
        </p:txBody>
      </p:sp>
      <p:sp>
        <p:nvSpPr>
          <p:cNvPr id="10" name="圆角矩形 58">
            <a:extLst>
              <a:ext uri="{FF2B5EF4-FFF2-40B4-BE49-F238E27FC236}">
                <a16:creationId xmlns:a16="http://schemas.microsoft.com/office/drawing/2014/main" id="{9FB7D5D7-E15E-4106-BFAC-DDF303E6AF96}"/>
              </a:ext>
            </a:extLst>
          </p:cNvPr>
          <p:cNvSpPr/>
          <p:nvPr/>
        </p:nvSpPr>
        <p:spPr>
          <a:xfrm>
            <a:off x="9150153" y="1377330"/>
            <a:ext cx="1429423" cy="710584"/>
          </a:xfrm>
          <a:prstGeom prst="round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highlight>
                <a:srgbClr val="FF0000"/>
              </a:highlight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7CF85E0C-65E5-4662-B91D-8DE3EAD4A5C5}"/>
              </a:ext>
            </a:extLst>
          </p:cNvPr>
          <p:cNvSpPr txBox="1"/>
          <p:nvPr/>
        </p:nvSpPr>
        <p:spPr>
          <a:xfrm>
            <a:off x="9277725" y="1540260"/>
            <a:ext cx="1174278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solidFill>
                  <a:schemeClr val="bg1"/>
                </a:solidFill>
              </a:rPr>
              <a:t>解决方案</a:t>
            </a:r>
          </a:p>
        </p:txBody>
      </p:sp>
      <p:sp>
        <p:nvSpPr>
          <p:cNvPr id="12" name="矩形 36">
            <a:extLst>
              <a:ext uri="{FF2B5EF4-FFF2-40B4-BE49-F238E27FC236}">
                <a16:creationId xmlns:a16="http://schemas.microsoft.com/office/drawing/2014/main" id="{A37680E5-003E-4FDC-B643-F494D2E392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4493" y="2413022"/>
            <a:ext cx="3121576" cy="3908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业务追求结果，忽视未来业务增长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熟悉业务商业模式，能有自己对业务的思考。但是深度和广度还不够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数据基建工作量较大，大多数数据相关需求和问题都会收口到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BI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侧，占据了主要的工作时间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36">
            <a:extLst>
              <a:ext uri="{FF2B5EF4-FFF2-40B4-BE49-F238E27FC236}">
                <a16:creationId xmlns:a16="http://schemas.microsoft.com/office/drawing/2014/main" id="{97B1F136-E7CA-4BD5-A6DF-2E79A46A60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5565" y="2413022"/>
            <a:ext cx="2916651" cy="361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定期经营分析，定位业务风险点，调整业务策略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多参与业务内部的会议，多和业务同学进行交流，发现他们难点，并给出数据的解决方案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和业务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BP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建立合理的排期规则，评估任务的重要紧急程度，挤压出时间做更有价值的工作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右箭头 8">
            <a:extLst>
              <a:ext uri="{FF2B5EF4-FFF2-40B4-BE49-F238E27FC236}">
                <a16:creationId xmlns:a16="http://schemas.microsoft.com/office/drawing/2014/main" id="{7240A332-CE7B-47C9-B66E-89F1CAABC820}"/>
              </a:ext>
            </a:extLst>
          </p:cNvPr>
          <p:cNvSpPr/>
          <p:nvPr/>
        </p:nvSpPr>
        <p:spPr>
          <a:xfrm>
            <a:off x="7784567" y="2574819"/>
            <a:ext cx="419266" cy="162161"/>
          </a:xfrm>
          <a:prstGeom prst="rightArrow">
            <a:avLst/>
          </a:prstGeom>
          <a:solidFill>
            <a:srgbClr val="B80638"/>
          </a:solidFill>
          <a:ln>
            <a:solidFill>
              <a:srgbClr val="B806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右箭头 8">
            <a:extLst>
              <a:ext uri="{FF2B5EF4-FFF2-40B4-BE49-F238E27FC236}">
                <a16:creationId xmlns:a16="http://schemas.microsoft.com/office/drawing/2014/main" id="{960E71AF-0B43-9704-94BF-5A56492D897B}"/>
              </a:ext>
            </a:extLst>
          </p:cNvPr>
          <p:cNvSpPr/>
          <p:nvPr/>
        </p:nvSpPr>
        <p:spPr>
          <a:xfrm>
            <a:off x="7784567" y="3511785"/>
            <a:ext cx="419266" cy="162161"/>
          </a:xfrm>
          <a:prstGeom prst="rightArrow">
            <a:avLst/>
          </a:prstGeom>
          <a:solidFill>
            <a:srgbClr val="B80638"/>
          </a:solidFill>
          <a:ln>
            <a:solidFill>
              <a:srgbClr val="B806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右箭头 8">
            <a:extLst>
              <a:ext uri="{FF2B5EF4-FFF2-40B4-BE49-F238E27FC236}">
                <a16:creationId xmlns:a16="http://schemas.microsoft.com/office/drawing/2014/main" id="{1FD2204D-6C1F-DDF6-6DF1-6496BE7FD7A3}"/>
              </a:ext>
            </a:extLst>
          </p:cNvPr>
          <p:cNvSpPr/>
          <p:nvPr/>
        </p:nvSpPr>
        <p:spPr>
          <a:xfrm>
            <a:off x="7784567" y="4981152"/>
            <a:ext cx="419266" cy="162161"/>
          </a:xfrm>
          <a:prstGeom prst="rightArrow">
            <a:avLst/>
          </a:prstGeom>
          <a:solidFill>
            <a:srgbClr val="B80638"/>
          </a:solidFill>
          <a:ln>
            <a:solidFill>
              <a:srgbClr val="B806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圆角矩形 56">
            <a:extLst>
              <a:ext uri="{FF2B5EF4-FFF2-40B4-BE49-F238E27FC236}">
                <a16:creationId xmlns:a16="http://schemas.microsoft.com/office/drawing/2014/main" id="{E31796C2-62DF-D29B-A24E-83A31F174DC4}"/>
              </a:ext>
            </a:extLst>
          </p:cNvPr>
          <p:cNvSpPr/>
          <p:nvPr/>
        </p:nvSpPr>
        <p:spPr>
          <a:xfrm>
            <a:off x="885559" y="1377330"/>
            <a:ext cx="1429423" cy="710584"/>
          </a:xfrm>
          <a:prstGeom prst="round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定位</a:t>
            </a:r>
          </a:p>
        </p:txBody>
      </p:sp>
      <p:sp>
        <p:nvSpPr>
          <p:cNvPr id="5" name="矩形 36">
            <a:extLst>
              <a:ext uri="{FF2B5EF4-FFF2-40B4-BE49-F238E27FC236}">
                <a16:creationId xmlns:a16="http://schemas.microsoft.com/office/drawing/2014/main" id="{FBC866CE-2417-76B9-CA84-C98F6A808A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5559" y="2416863"/>
            <a:ext cx="1519438" cy="2726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懂商业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助力业务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用数据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右箭头 8">
            <a:extLst>
              <a:ext uri="{FF2B5EF4-FFF2-40B4-BE49-F238E27FC236}">
                <a16:creationId xmlns:a16="http://schemas.microsoft.com/office/drawing/2014/main" id="{B4C3B2AE-0B22-E11C-9EF9-94B545AC1982}"/>
              </a:ext>
            </a:extLst>
          </p:cNvPr>
          <p:cNvSpPr/>
          <p:nvPr/>
        </p:nvSpPr>
        <p:spPr>
          <a:xfrm>
            <a:off x="3063287" y="2574821"/>
            <a:ext cx="419266" cy="162161"/>
          </a:xfrm>
          <a:prstGeom prst="rightArrow">
            <a:avLst/>
          </a:prstGeom>
          <a:solidFill>
            <a:srgbClr val="B80638"/>
          </a:solidFill>
          <a:ln>
            <a:solidFill>
              <a:srgbClr val="B806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右箭头 8">
            <a:extLst>
              <a:ext uri="{FF2B5EF4-FFF2-40B4-BE49-F238E27FC236}">
                <a16:creationId xmlns:a16="http://schemas.microsoft.com/office/drawing/2014/main" id="{0BF5E333-77B4-C877-792A-FADC6923D058}"/>
              </a:ext>
            </a:extLst>
          </p:cNvPr>
          <p:cNvSpPr/>
          <p:nvPr/>
        </p:nvSpPr>
        <p:spPr>
          <a:xfrm>
            <a:off x="3063287" y="3511787"/>
            <a:ext cx="419266" cy="162161"/>
          </a:xfrm>
          <a:prstGeom prst="rightArrow">
            <a:avLst/>
          </a:prstGeom>
          <a:solidFill>
            <a:srgbClr val="B80638"/>
          </a:solidFill>
          <a:ln>
            <a:solidFill>
              <a:srgbClr val="B806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右箭头 8">
            <a:extLst>
              <a:ext uri="{FF2B5EF4-FFF2-40B4-BE49-F238E27FC236}">
                <a16:creationId xmlns:a16="http://schemas.microsoft.com/office/drawing/2014/main" id="{897E3996-6337-944A-25BB-C69F401DB1F8}"/>
              </a:ext>
            </a:extLst>
          </p:cNvPr>
          <p:cNvSpPr/>
          <p:nvPr/>
        </p:nvSpPr>
        <p:spPr>
          <a:xfrm>
            <a:off x="3063287" y="4981154"/>
            <a:ext cx="419266" cy="162161"/>
          </a:xfrm>
          <a:prstGeom prst="rightArrow">
            <a:avLst/>
          </a:prstGeom>
          <a:solidFill>
            <a:srgbClr val="B80638"/>
          </a:solidFill>
          <a:ln>
            <a:solidFill>
              <a:srgbClr val="B806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77686501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230B947-E7F5-543A-AD5A-0E3CD460F5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think-cell data - do not delete" hidden="1">
            <a:extLst>
              <a:ext uri="{FF2B5EF4-FFF2-40B4-BE49-F238E27FC236}">
                <a16:creationId xmlns:a16="http://schemas.microsoft.com/office/drawing/2014/main" id="{A9863A8C-E6E7-7DE6-E4F6-E11C33FC78E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19940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hape 188">
            <a:extLst>
              <a:ext uri="{FF2B5EF4-FFF2-40B4-BE49-F238E27FC236}">
                <a16:creationId xmlns:a16="http://schemas.microsoft.com/office/drawing/2014/main" id="{48F72D2C-9462-2C97-ADBB-B23989E6E77F}"/>
              </a:ext>
            </a:extLst>
          </p:cNvPr>
          <p:cNvSpPr/>
          <p:nvPr/>
        </p:nvSpPr>
        <p:spPr>
          <a:xfrm>
            <a:off x="344424" y="189672"/>
            <a:ext cx="1333698" cy="359073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defRPr sz="7000">
                <a:solidFill>
                  <a:srgbClr val="B80638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1pPr>
          </a:lstStyle>
          <a:p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未来规划：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圆角矩形 56">
            <a:extLst>
              <a:ext uri="{FF2B5EF4-FFF2-40B4-BE49-F238E27FC236}">
                <a16:creationId xmlns:a16="http://schemas.microsoft.com/office/drawing/2014/main" id="{9B4A0DD8-4480-565A-4F3A-B92EF413F266}"/>
              </a:ext>
            </a:extLst>
          </p:cNvPr>
          <p:cNvSpPr/>
          <p:nvPr/>
        </p:nvSpPr>
        <p:spPr>
          <a:xfrm>
            <a:off x="342086" y="652706"/>
            <a:ext cx="2032709" cy="710584"/>
          </a:xfrm>
          <a:prstGeom prst="round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025CEEB9-6609-6A71-1789-EAC559B66FEA}"/>
              </a:ext>
            </a:extLst>
          </p:cNvPr>
          <p:cNvSpPr txBox="1"/>
          <p:nvPr/>
        </p:nvSpPr>
        <p:spPr>
          <a:xfrm>
            <a:off x="344424" y="829677"/>
            <a:ext cx="20303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solidFill>
                  <a:schemeClr val="bg1"/>
                </a:solidFill>
              </a:rPr>
              <a:t>工作方向</a:t>
            </a:r>
          </a:p>
        </p:txBody>
      </p:sp>
      <p:sp>
        <p:nvSpPr>
          <p:cNvPr id="5" name="矩形 36">
            <a:extLst>
              <a:ext uri="{FF2B5EF4-FFF2-40B4-BE49-F238E27FC236}">
                <a16:creationId xmlns:a16="http://schemas.microsoft.com/office/drawing/2014/main" id="{C319B540-1DF6-B2F1-88A0-58177113FC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9529" y="1658262"/>
            <a:ext cx="2521250" cy="4794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思源黑体 CN ExtraLight" panose="020B0200000000000000" pitchFamily="34" charset="-122"/>
                <a:ea typeface="思源黑体 CN ExtraLight" panose="020B0200000000000000" pitchFamily="34" charset="-122"/>
              </a:defRPr>
            </a:lvl9pPr>
          </a:lstStyle>
          <a:p>
            <a:pPr marL="285750" indent="-285750">
              <a:lnSpc>
                <a:spcPct val="120000"/>
              </a:lnSpc>
              <a:buFont typeface="Wingdings" pitchFamily="2" charset="2"/>
              <a:buChar char="Ø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完善的数据工具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0000"/>
              </a:lnSpc>
              <a:buFont typeface="Wingdings" pitchFamily="2" charset="2"/>
              <a:buChar char="Ø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持续的策略输出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右箭头 5">
            <a:extLst>
              <a:ext uri="{FF2B5EF4-FFF2-40B4-BE49-F238E27FC236}">
                <a16:creationId xmlns:a16="http://schemas.microsoft.com/office/drawing/2014/main" id="{8BD1588E-0ABB-5921-F182-10FA057962D6}"/>
              </a:ext>
            </a:extLst>
          </p:cNvPr>
          <p:cNvSpPr/>
          <p:nvPr/>
        </p:nvSpPr>
        <p:spPr>
          <a:xfrm>
            <a:off x="2699065" y="3106800"/>
            <a:ext cx="446376" cy="3222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64AC5FFA-F16D-1128-1510-D7CDDCB1E1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92951" y="570666"/>
            <a:ext cx="5999967" cy="5285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9008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2910840" y="1748155"/>
            <a:ext cx="2451735" cy="2414270"/>
          </a:xfrm>
          <a:prstGeom prst="rect">
            <a:avLst/>
          </a:prstGeom>
          <a:noFill/>
          <a:ln w="28575">
            <a:solidFill>
              <a:srgbClr val="A41F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2266315" y="1935480"/>
            <a:ext cx="2674620" cy="2701290"/>
          </a:xfrm>
          <a:prstGeom prst="rect">
            <a:avLst/>
          </a:prstGeom>
          <a:solidFill>
            <a:srgbClr val="A41F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 flipV="1">
            <a:off x="4567555" y="1112520"/>
            <a:ext cx="870585" cy="87058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 flipV="1">
            <a:off x="4372610" y="1453515"/>
            <a:ext cx="568325" cy="56832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 flipV="1">
            <a:off x="4625340" y="1344930"/>
            <a:ext cx="728980" cy="72834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 flipV="1">
            <a:off x="4156075" y="1453515"/>
            <a:ext cx="587375" cy="58737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 flipV="1">
            <a:off x="4985945" y="1209710"/>
            <a:ext cx="135424" cy="13542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 flipV="1">
            <a:off x="2404477" y="4579501"/>
            <a:ext cx="405864" cy="405864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 flipV="1">
            <a:off x="1777365" y="4270375"/>
            <a:ext cx="1133475" cy="1134110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/>
        </p:nvCxnSpPr>
        <p:spPr>
          <a:xfrm flipV="1">
            <a:off x="2153375" y="5057373"/>
            <a:ext cx="202932" cy="202932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 flipV="1">
            <a:off x="2407769" y="4578478"/>
            <a:ext cx="595880" cy="580361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 flipV="1">
            <a:off x="2180338" y="5216485"/>
            <a:ext cx="191458" cy="202932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 flipV="1">
            <a:off x="2659796" y="4566585"/>
            <a:ext cx="479459" cy="490788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/>
          <p:cNvSpPr txBox="1"/>
          <p:nvPr/>
        </p:nvSpPr>
        <p:spPr>
          <a:xfrm>
            <a:off x="3003649" y="2355942"/>
            <a:ext cx="1107996" cy="1862048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altLang="zh-CN" sz="11500" spc="300" dirty="0">
                <a:solidFill>
                  <a:srgbClr val="E1DDD2"/>
                </a:solidFill>
                <a:latin typeface="字魂35号-经典雅黑" panose="00000500000000000000" pitchFamily="2" charset="-122"/>
                <a:ea typeface="字魂35号-经典雅黑" panose="00000500000000000000" pitchFamily="2" charset="-122"/>
                <a:sym typeface="+mn-ea"/>
              </a:rPr>
              <a:t>4</a:t>
            </a:r>
            <a:endParaRPr lang="en-US" altLang="zh-CN" sz="11500" spc="300" dirty="0">
              <a:solidFill>
                <a:srgbClr val="E1DDD2"/>
              </a:solidFill>
              <a:effectLst/>
              <a:latin typeface="字魂35号-经典雅黑" panose="00000500000000000000" pitchFamily="2" charset="-122"/>
              <a:ea typeface="字魂35号-经典雅黑" panose="00000500000000000000" pitchFamily="2" charset="-122"/>
              <a:sym typeface="+mn-ea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6007100" y="2673333"/>
            <a:ext cx="3108543" cy="92333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 sz="5400" spc="300" dirty="0">
                <a:latin typeface="字魂57号-创细黑-Regular" panose="00000500000000000000" charset="-122"/>
                <a:ea typeface="字魂57号-创细黑-Regular" panose="00000500000000000000" charset="-122"/>
                <a:cs typeface="字魂35号-经典雅黑" panose="00000500000000000000" charset="-122"/>
                <a:sym typeface="+mn-ea"/>
              </a:rPr>
              <a:t>未来规划</a:t>
            </a:r>
            <a:endParaRPr lang="zh-CN" altLang="en-US" sz="5400" spc="300" dirty="0">
              <a:effectLst/>
              <a:latin typeface="字魂57号-创细黑-Regular" panose="00000500000000000000" charset="-122"/>
              <a:ea typeface="字魂57号-创细黑-Regular" panose="00000500000000000000" charset="-122"/>
              <a:cs typeface="字魂35号-经典雅黑" panose="00000500000000000000" charset="-122"/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497139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组合 30"/>
          <p:cNvGrpSpPr/>
          <p:nvPr>
            <p:custDataLst>
              <p:tags r:id="rId1"/>
            </p:custDataLst>
          </p:nvPr>
        </p:nvGrpSpPr>
        <p:grpSpPr>
          <a:xfrm>
            <a:off x="3760668" y="1894840"/>
            <a:ext cx="1742440" cy="3068320"/>
            <a:chOff x="1240956" y="3730153"/>
            <a:chExt cx="1110986" cy="1956532"/>
          </a:xfrm>
        </p:grpSpPr>
        <p:sp>
          <p:nvSpPr>
            <p:cNvPr id="32" name="任意多边形 31"/>
            <p:cNvSpPr/>
            <p:nvPr>
              <p:custDataLst>
                <p:tags r:id="rId14"/>
              </p:custDataLst>
            </p:nvPr>
          </p:nvSpPr>
          <p:spPr>
            <a:xfrm rot="2871886">
              <a:off x="1533187" y="3491517"/>
              <a:ext cx="558944" cy="1036216"/>
            </a:xfrm>
            <a:custGeom>
              <a:avLst/>
              <a:gdLst>
                <a:gd name="connsiteX0" fmla="*/ 0 w 729762"/>
                <a:gd name="connsiteY0" fmla="*/ 0 h 1352892"/>
                <a:gd name="connsiteX1" fmla="*/ 729762 w 729762"/>
                <a:gd name="connsiteY1" fmla="*/ 0 h 1352892"/>
                <a:gd name="connsiteX2" fmla="*/ 729762 w 729762"/>
                <a:gd name="connsiteY2" fmla="*/ 546246 h 1352892"/>
                <a:gd name="connsiteX3" fmla="*/ 0 w 729762"/>
                <a:gd name="connsiteY3" fmla="*/ 1352892 h 1352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762" h="1352892">
                  <a:moveTo>
                    <a:pt x="0" y="0"/>
                  </a:moveTo>
                  <a:lnTo>
                    <a:pt x="729762" y="0"/>
                  </a:lnTo>
                  <a:lnTo>
                    <a:pt x="729762" y="546246"/>
                  </a:lnTo>
                  <a:lnTo>
                    <a:pt x="0" y="1352892"/>
                  </a:lnTo>
                  <a:close/>
                </a:path>
              </a:pathLst>
            </a:custGeom>
            <a:solidFill>
              <a:srgbClr val="A41F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normAutofit/>
            </a:bodyPr>
            <a:lstStyle/>
            <a:p>
              <a:pPr algn="ctr"/>
              <a:r>
                <a:rPr lang="en-US" altLang="zh-CN" sz="3200" dirty="0">
                  <a:solidFill>
                    <a:srgbClr val="E1DDD2"/>
                  </a:solidFill>
                  <a:latin typeface="字魂35号-经典雅黑" panose="00000500000000000000" pitchFamily="2" charset="-122"/>
                  <a:ea typeface="字魂35号-经典雅黑" panose="00000500000000000000" pitchFamily="2" charset="-122"/>
                </a:rPr>
                <a:t>01</a:t>
              </a:r>
            </a:p>
          </p:txBody>
        </p:sp>
        <p:sp>
          <p:nvSpPr>
            <p:cNvPr id="33" name="矩形 32"/>
            <p:cNvSpPr/>
            <p:nvPr>
              <p:custDataLst>
                <p:tags r:id="rId15"/>
              </p:custDataLst>
            </p:nvPr>
          </p:nvSpPr>
          <p:spPr>
            <a:xfrm>
              <a:off x="1240956" y="4246685"/>
              <a:ext cx="36000" cy="1440000"/>
            </a:xfrm>
            <a:prstGeom prst="rect">
              <a:avLst/>
            </a:prstGeom>
            <a:solidFill>
              <a:srgbClr val="A41F24"/>
            </a:solidFill>
            <a:ln>
              <a:solidFill>
                <a:srgbClr val="A41F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zh-CN" altLang="en-US">
                <a:solidFill>
                  <a:srgbClr val="A41F24"/>
                </a:solidFill>
                <a:latin typeface="字魂35号-经典雅黑" panose="00000500000000000000" charset="-122"/>
                <a:ea typeface="字魂35号-经典雅黑" panose="00000500000000000000" charset="-122"/>
              </a:endParaRPr>
            </a:p>
          </p:txBody>
        </p:sp>
        <p:sp>
          <p:nvSpPr>
            <p:cNvPr id="34" name="文本框 33"/>
            <p:cNvSpPr txBox="1"/>
            <p:nvPr>
              <p:custDataLst>
                <p:tags r:id="rId16"/>
              </p:custDataLst>
            </p:nvPr>
          </p:nvSpPr>
          <p:spPr>
            <a:xfrm>
              <a:off x="1297495" y="4246685"/>
              <a:ext cx="1054447" cy="1440000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>
                <a:lnSpc>
                  <a:spcPct val="90000"/>
                </a:lnSpc>
              </a:pPr>
              <a:r>
                <a:rPr lang="zh-CN" altLang="en-US" sz="3200" dirty="0">
                  <a:solidFill>
                    <a:srgbClr val="A41F24"/>
                  </a:solidFill>
                  <a:latin typeface="字魂35号-经典雅黑" panose="00000500000000000000" charset="-122"/>
                  <a:ea typeface="字魂35号-经典雅黑" panose="00000500000000000000" charset="-122"/>
                </a:rPr>
                <a:t>工作</a:t>
              </a:r>
              <a:endParaRPr lang="en-US" altLang="zh-CN" sz="3200" dirty="0">
                <a:solidFill>
                  <a:srgbClr val="A41F24"/>
                </a:solidFill>
                <a:latin typeface="字魂35号-经典雅黑" panose="00000500000000000000" charset="-122"/>
                <a:ea typeface="字魂35号-经典雅黑" panose="00000500000000000000" charset="-122"/>
              </a:endParaRPr>
            </a:p>
            <a:p>
              <a:pPr>
                <a:lnSpc>
                  <a:spcPct val="90000"/>
                </a:lnSpc>
              </a:pPr>
              <a:r>
                <a:rPr lang="zh-CN" altLang="en-US" sz="3200" dirty="0">
                  <a:solidFill>
                    <a:srgbClr val="A41F24"/>
                  </a:solidFill>
                  <a:latin typeface="字魂35号-经典雅黑" panose="00000500000000000000" charset="-122"/>
                  <a:ea typeface="字魂35号-经典雅黑" panose="00000500000000000000" charset="-122"/>
                </a:rPr>
                <a:t>概述</a:t>
              </a:r>
            </a:p>
          </p:txBody>
        </p:sp>
      </p:grpSp>
      <p:grpSp>
        <p:nvGrpSpPr>
          <p:cNvPr id="35" name="组合 34"/>
          <p:cNvGrpSpPr/>
          <p:nvPr>
            <p:custDataLst>
              <p:tags r:id="rId2"/>
            </p:custDataLst>
          </p:nvPr>
        </p:nvGrpSpPr>
        <p:grpSpPr>
          <a:xfrm>
            <a:off x="5914553" y="1894840"/>
            <a:ext cx="1742440" cy="3068320"/>
            <a:chOff x="1240956" y="3730153"/>
            <a:chExt cx="1110986" cy="1956532"/>
          </a:xfrm>
        </p:grpSpPr>
        <p:sp>
          <p:nvSpPr>
            <p:cNvPr id="36" name="任意多边形 35"/>
            <p:cNvSpPr/>
            <p:nvPr>
              <p:custDataLst>
                <p:tags r:id="rId11"/>
              </p:custDataLst>
            </p:nvPr>
          </p:nvSpPr>
          <p:spPr>
            <a:xfrm rot="2871886">
              <a:off x="1533187" y="3491517"/>
              <a:ext cx="558944" cy="1036216"/>
            </a:xfrm>
            <a:custGeom>
              <a:avLst/>
              <a:gdLst>
                <a:gd name="connsiteX0" fmla="*/ 0 w 729762"/>
                <a:gd name="connsiteY0" fmla="*/ 0 h 1352892"/>
                <a:gd name="connsiteX1" fmla="*/ 729762 w 729762"/>
                <a:gd name="connsiteY1" fmla="*/ 0 h 1352892"/>
                <a:gd name="connsiteX2" fmla="*/ 729762 w 729762"/>
                <a:gd name="connsiteY2" fmla="*/ 546246 h 1352892"/>
                <a:gd name="connsiteX3" fmla="*/ 0 w 729762"/>
                <a:gd name="connsiteY3" fmla="*/ 1352892 h 1352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762" h="1352892">
                  <a:moveTo>
                    <a:pt x="0" y="0"/>
                  </a:moveTo>
                  <a:lnTo>
                    <a:pt x="729762" y="0"/>
                  </a:lnTo>
                  <a:lnTo>
                    <a:pt x="729762" y="546246"/>
                  </a:lnTo>
                  <a:lnTo>
                    <a:pt x="0" y="1352892"/>
                  </a:lnTo>
                  <a:close/>
                </a:path>
              </a:pathLst>
            </a:custGeom>
            <a:solidFill>
              <a:srgbClr val="A41F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noAutofit/>
            </a:bodyPr>
            <a:lstStyle/>
            <a:p>
              <a:pPr algn="ctr"/>
              <a:r>
                <a:rPr lang="en-US" altLang="zh-CN" sz="3200" dirty="0">
                  <a:solidFill>
                    <a:srgbClr val="E1DDD2"/>
                  </a:solidFill>
                  <a:latin typeface="字魂35号-经典雅黑" panose="00000500000000000000" pitchFamily="2" charset="-122"/>
                  <a:ea typeface="字魂35号-经典雅黑" panose="00000500000000000000" pitchFamily="2" charset="-122"/>
                </a:rPr>
                <a:t>02</a:t>
              </a:r>
            </a:p>
          </p:txBody>
        </p:sp>
        <p:sp>
          <p:nvSpPr>
            <p:cNvPr id="37" name="矩形 36"/>
            <p:cNvSpPr/>
            <p:nvPr>
              <p:custDataLst>
                <p:tags r:id="rId12"/>
              </p:custDataLst>
            </p:nvPr>
          </p:nvSpPr>
          <p:spPr>
            <a:xfrm>
              <a:off x="1240956" y="4246685"/>
              <a:ext cx="36000" cy="1440000"/>
            </a:xfrm>
            <a:prstGeom prst="rect">
              <a:avLst/>
            </a:prstGeom>
            <a:solidFill>
              <a:srgbClr val="A41F24"/>
            </a:solidFill>
            <a:ln>
              <a:solidFill>
                <a:srgbClr val="A41F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zh-CN" altLang="en-US">
                <a:solidFill>
                  <a:srgbClr val="A41F24"/>
                </a:solidFill>
                <a:latin typeface="字魂35号-经典雅黑" panose="00000500000000000000" charset="-122"/>
                <a:ea typeface="字魂35号-经典雅黑" panose="00000500000000000000" charset="-122"/>
              </a:endParaRPr>
            </a:p>
          </p:txBody>
        </p:sp>
        <p:sp>
          <p:nvSpPr>
            <p:cNvPr id="38" name="文本框 37"/>
            <p:cNvSpPr txBox="1"/>
            <p:nvPr>
              <p:custDataLst>
                <p:tags r:id="rId13"/>
              </p:custDataLst>
            </p:nvPr>
          </p:nvSpPr>
          <p:spPr>
            <a:xfrm>
              <a:off x="1297495" y="4246685"/>
              <a:ext cx="1054447" cy="1440000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>
                <a:lnSpc>
                  <a:spcPct val="90000"/>
                </a:lnSpc>
              </a:pPr>
              <a:r>
                <a:rPr lang="zh-CN" altLang="en-US" sz="3200" dirty="0">
                  <a:solidFill>
                    <a:srgbClr val="A41F24"/>
                  </a:solidFill>
                  <a:latin typeface="字魂35号-经典雅黑" panose="00000500000000000000" charset="-122"/>
                  <a:ea typeface="字魂35号-经典雅黑" panose="00000500000000000000" charset="-122"/>
                </a:rPr>
                <a:t>重点</a:t>
              </a:r>
              <a:endParaRPr lang="en-US" altLang="zh-CN" sz="3200" dirty="0">
                <a:solidFill>
                  <a:srgbClr val="A41F24"/>
                </a:solidFill>
                <a:latin typeface="字魂35号-经典雅黑" panose="00000500000000000000" charset="-122"/>
                <a:ea typeface="字魂35号-经典雅黑" panose="00000500000000000000" charset="-122"/>
              </a:endParaRPr>
            </a:p>
            <a:p>
              <a:pPr>
                <a:lnSpc>
                  <a:spcPct val="90000"/>
                </a:lnSpc>
              </a:pPr>
              <a:r>
                <a:rPr lang="zh-CN" altLang="en-US" sz="3200" dirty="0">
                  <a:solidFill>
                    <a:srgbClr val="A41F24"/>
                  </a:solidFill>
                  <a:latin typeface="字魂35号-经典雅黑" panose="00000500000000000000" charset="-122"/>
                  <a:ea typeface="字魂35号-经典雅黑" panose="00000500000000000000" charset="-122"/>
                </a:rPr>
                <a:t>工作</a:t>
              </a:r>
            </a:p>
          </p:txBody>
        </p:sp>
      </p:grpSp>
      <p:grpSp>
        <p:nvGrpSpPr>
          <p:cNvPr id="39" name="组合 38"/>
          <p:cNvGrpSpPr/>
          <p:nvPr>
            <p:custDataLst>
              <p:tags r:id="rId3"/>
            </p:custDataLst>
          </p:nvPr>
        </p:nvGrpSpPr>
        <p:grpSpPr>
          <a:xfrm>
            <a:off x="8068462" y="1879528"/>
            <a:ext cx="1723525" cy="3068320"/>
            <a:chOff x="1240956" y="3730153"/>
            <a:chExt cx="1098926" cy="1956532"/>
          </a:xfrm>
        </p:grpSpPr>
        <p:sp>
          <p:nvSpPr>
            <p:cNvPr id="40" name="任意多边形 39"/>
            <p:cNvSpPr/>
            <p:nvPr>
              <p:custDataLst>
                <p:tags r:id="rId8"/>
              </p:custDataLst>
            </p:nvPr>
          </p:nvSpPr>
          <p:spPr>
            <a:xfrm rot="2871886">
              <a:off x="1533187" y="3491517"/>
              <a:ext cx="558944" cy="1036216"/>
            </a:xfrm>
            <a:custGeom>
              <a:avLst/>
              <a:gdLst>
                <a:gd name="connsiteX0" fmla="*/ 0 w 729762"/>
                <a:gd name="connsiteY0" fmla="*/ 0 h 1352892"/>
                <a:gd name="connsiteX1" fmla="*/ 729762 w 729762"/>
                <a:gd name="connsiteY1" fmla="*/ 0 h 1352892"/>
                <a:gd name="connsiteX2" fmla="*/ 729762 w 729762"/>
                <a:gd name="connsiteY2" fmla="*/ 546246 h 1352892"/>
                <a:gd name="connsiteX3" fmla="*/ 0 w 729762"/>
                <a:gd name="connsiteY3" fmla="*/ 1352892 h 1352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762" h="1352892">
                  <a:moveTo>
                    <a:pt x="0" y="0"/>
                  </a:moveTo>
                  <a:lnTo>
                    <a:pt x="729762" y="0"/>
                  </a:lnTo>
                  <a:lnTo>
                    <a:pt x="729762" y="546246"/>
                  </a:lnTo>
                  <a:lnTo>
                    <a:pt x="0" y="1352892"/>
                  </a:lnTo>
                  <a:close/>
                </a:path>
              </a:pathLst>
            </a:custGeom>
            <a:solidFill>
              <a:srgbClr val="A41F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normAutofit/>
            </a:bodyPr>
            <a:lstStyle/>
            <a:p>
              <a:pPr algn="ctr"/>
              <a:r>
                <a:rPr lang="en-US" altLang="zh-CN" sz="3200" dirty="0">
                  <a:solidFill>
                    <a:srgbClr val="E1DDD2"/>
                  </a:solidFill>
                  <a:latin typeface="字魂35号-经典雅黑" panose="00000500000000000000" pitchFamily="2" charset="-122"/>
                  <a:ea typeface="字魂35号-经典雅黑" panose="00000500000000000000" pitchFamily="2" charset="-122"/>
                </a:rPr>
                <a:t>03</a:t>
              </a:r>
            </a:p>
          </p:txBody>
        </p:sp>
        <p:sp>
          <p:nvSpPr>
            <p:cNvPr id="41" name="矩形 40"/>
            <p:cNvSpPr/>
            <p:nvPr>
              <p:custDataLst>
                <p:tags r:id="rId9"/>
              </p:custDataLst>
            </p:nvPr>
          </p:nvSpPr>
          <p:spPr>
            <a:xfrm>
              <a:off x="1240956" y="4246685"/>
              <a:ext cx="36000" cy="1440000"/>
            </a:xfrm>
            <a:prstGeom prst="rect">
              <a:avLst/>
            </a:prstGeom>
            <a:solidFill>
              <a:srgbClr val="A41F24"/>
            </a:solidFill>
            <a:ln>
              <a:solidFill>
                <a:srgbClr val="A41F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zh-CN" altLang="en-US">
                <a:solidFill>
                  <a:srgbClr val="A41F24"/>
                </a:solidFill>
                <a:latin typeface="字魂35号-经典雅黑" panose="00000500000000000000" charset="-122"/>
                <a:ea typeface="字魂35号-经典雅黑" panose="00000500000000000000" charset="-122"/>
              </a:endParaRPr>
            </a:p>
          </p:txBody>
        </p:sp>
        <p:sp>
          <p:nvSpPr>
            <p:cNvPr id="42" name="文本框 41"/>
            <p:cNvSpPr txBox="1"/>
            <p:nvPr>
              <p:custDataLst>
                <p:tags r:id="rId10"/>
              </p:custDataLst>
            </p:nvPr>
          </p:nvSpPr>
          <p:spPr>
            <a:xfrm>
              <a:off x="1285435" y="4246685"/>
              <a:ext cx="1054447" cy="1440000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>
                <a:lnSpc>
                  <a:spcPct val="90000"/>
                </a:lnSpc>
              </a:pPr>
              <a:r>
                <a:rPr lang="zh-CN" altLang="en-US" sz="3200" dirty="0">
                  <a:solidFill>
                    <a:srgbClr val="A41F24"/>
                  </a:solidFill>
                  <a:latin typeface="字魂35号-经典雅黑" panose="00000500000000000000" charset="-122"/>
                  <a:ea typeface="字魂35号-经典雅黑" panose="00000500000000000000" charset="-122"/>
                </a:rPr>
                <a:t>思考</a:t>
              </a:r>
              <a:endParaRPr lang="en-US" altLang="zh-CN" sz="3200" dirty="0">
                <a:solidFill>
                  <a:srgbClr val="A41F24"/>
                </a:solidFill>
                <a:latin typeface="字魂35号-经典雅黑" panose="00000500000000000000" charset="-122"/>
                <a:ea typeface="字魂35号-经典雅黑" panose="00000500000000000000" charset="-122"/>
              </a:endParaRPr>
            </a:p>
            <a:p>
              <a:pPr>
                <a:lnSpc>
                  <a:spcPct val="90000"/>
                </a:lnSpc>
              </a:pPr>
              <a:r>
                <a:rPr lang="zh-CN" altLang="en-US" sz="3200" dirty="0">
                  <a:solidFill>
                    <a:srgbClr val="A41F24"/>
                  </a:solidFill>
                  <a:latin typeface="字魂35号-经典雅黑" panose="00000500000000000000" charset="-122"/>
                  <a:ea typeface="字魂35号-经典雅黑" panose="00000500000000000000" charset="-122"/>
                </a:rPr>
                <a:t>规划</a:t>
              </a:r>
              <a:endParaRPr lang="en-US" altLang="zh-CN" sz="3200" dirty="0">
                <a:solidFill>
                  <a:srgbClr val="A41F24"/>
                </a:solidFill>
                <a:latin typeface="字魂35号-经典雅黑" panose="00000500000000000000" charset="-122"/>
                <a:ea typeface="字魂35号-经典雅黑" panose="00000500000000000000" charset="-122"/>
              </a:endParaRPr>
            </a:p>
          </p:txBody>
        </p:sp>
      </p:grpSp>
      <p:grpSp>
        <p:nvGrpSpPr>
          <p:cNvPr id="47" name="组合 46"/>
          <p:cNvGrpSpPr/>
          <p:nvPr>
            <p:custDataLst>
              <p:tags r:id="rId4"/>
            </p:custDataLst>
          </p:nvPr>
        </p:nvGrpSpPr>
        <p:grpSpPr>
          <a:xfrm>
            <a:off x="1606784" y="1879528"/>
            <a:ext cx="1742440" cy="3068320"/>
            <a:chOff x="1240956" y="3730153"/>
            <a:chExt cx="1110986" cy="1956532"/>
          </a:xfrm>
        </p:grpSpPr>
        <p:sp>
          <p:nvSpPr>
            <p:cNvPr id="48" name="任意多边形 47"/>
            <p:cNvSpPr/>
            <p:nvPr>
              <p:custDataLst>
                <p:tags r:id="rId5"/>
              </p:custDataLst>
            </p:nvPr>
          </p:nvSpPr>
          <p:spPr>
            <a:xfrm rot="2871886">
              <a:off x="1533187" y="3491517"/>
              <a:ext cx="558944" cy="1036216"/>
            </a:xfrm>
            <a:custGeom>
              <a:avLst/>
              <a:gdLst>
                <a:gd name="connsiteX0" fmla="*/ 0 w 729762"/>
                <a:gd name="connsiteY0" fmla="*/ 0 h 1352892"/>
                <a:gd name="connsiteX1" fmla="*/ 729762 w 729762"/>
                <a:gd name="connsiteY1" fmla="*/ 0 h 1352892"/>
                <a:gd name="connsiteX2" fmla="*/ 729762 w 729762"/>
                <a:gd name="connsiteY2" fmla="*/ 546246 h 1352892"/>
                <a:gd name="connsiteX3" fmla="*/ 0 w 729762"/>
                <a:gd name="connsiteY3" fmla="*/ 1352892 h 1352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762" h="1352892">
                  <a:moveTo>
                    <a:pt x="0" y="0"/>
                  </a:moveTo>
                  <a:lnTo>
                    <a:pt x="729762" y="0"/>
                  </a:lnTo>
                  <a:lnTo>
                    <a:pt x="729762" y="546246"/>
                  </a:lnTo>
                  <a:lnTo>
                    <a:pt x="0" y="1352892"/>
                  </a:lnTo>
                  <a:close/>
                </a:path>
              </a:pathLst>
            </a:custGeom>
            <a:solidFill>
              <a:srgbClr val="A41F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normAutofit/>
            </a:bodyPr>
            <a:lstStyle/>
            <a:p>
              <a:pPr algn="ctr"/>
              <a:r>
                <a:rPr lang="en-US" altLang="zh-CN" sz="3200" dirty="0">
                  <a:solidFill>
                    <a:srgbClr val="E1DDD2"/>
                  </a:solidFill>
                  <a:latin typeface="字魂35号-经典雅黑" panose="00000500000000000000" pitchFamily="2" charset="-122"/>
                  <a:ea typeface="字魂35号-经典雅黑" panose="00000500000000000000" pitchFamily="2" charset="-122"/>
                </a:rPr>
                <a:t>00</a:t>
              </a:r>
            </a:p>
          </p:txBody>
        </p:sp>
        <p:sp>
          <p:nvSpPr>
            <p:cNvPr id="49" name="矩形 48"/>
            <p:cNvSpPr/>
            <p:nvPr>
              <p:custDataLst>
                <p:tags r:id="rId6"/>
              </p:custDataLst>
            </p:nvPr>
          </p:nvSpPr>
          <p:spPr>
            <a:xfrm>
              <a:off x="1240956" y="4246685"/>
              <a:ext cx="36000" cy="1440000"/>
            </a:xfrm>
            <a:prstGeom prst="rect">
              <a:avLst/>
            </a:prstGeom>
            <a:solidFill>
              <a:srgbClr val="A41F24"/>
            </a:solidFill>
            <a:ln>
              <a:solidFill>
                <a:srgbClr val="A41F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zh-CN" altLang="en-US">
                <a:solidFill>
                  <a:srgbClr val="A41F24"/>
                </a:solidFill>
                <a:latin typeface="字魂35号-经典雅黑" panose="00000500000000000000" charset="-122"/>
                <a:ea typeface="字魂35号-经典雅黑" panose="00000500000000000000" charset="-122"/>
              </a:endParaRPr>
            </a:p>
          </p:txBody>
        </p:sp>
        <p:sp>
          <p:nvSpPr>
            <p:cNvPr id="50" name="文本框 49"/>
            <p:cNvSpPr txBox="1"/>
            <p:nvPr>
              <p:custDataLst>
                <p:tags r:id="rId7"/>
              </p:custDataLst>
            </p:nvPr>
          </p:nvSpPr>
          <p:spPr>
            <a:xfrm>
              <a:off x="1297495" y="4246685"/>
              <a:ext cx="1054447" cy="1440000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>
                <a:lnSpc>
                  <a:spcPct val="90000"/>
                </a:lnSpc>
              </a:pPr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字魂35号-经典雅黑" panose="00000500000000000000" charset="-122"/>
                  <a:ea typeface="字魂35号-经典雅黑" panose="00000500000000000000" charset="-122"/>
                </a:rPr>
                <a:t>自我</a:t>
              </a:r>
              <a:endParaRPr lang="en-US" altLang="zh-CN" sz="3200" dirty="0">
                <a:solidFill>
                  <a:schemeClr val="tx1">
                    <a:lumMod val="50000"/>
                    <a:lumOff val="50000"/>
                  </a:schemeClr>
                </a:solidFill>
                <a:latin typeface="字魂35号-经典雅黑" panose="00000500000000000000" charset="-122"/>
                <a:ea typeface="字魂35号-经典雅黑" panose="00000500000000000000" charset="-122"/>
              </a:endParaRPr>
            </a:p>
            <a:p>
              <a:pPr>
                <a:lnSpc>
                  <a:spcPct val="90000"/>
                </a:lnSpc>
              </a:pPr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字魂35号-经典雅黑" panose="00000500000000000000" charset="-122"/>
                  <a:ea typeface="字魂35号-经典雅黑" panose="00000500000000000000" charset="-122"/>
                </a:rPr>
                <a:t>介绍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14691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6FAA0F-5CD8-12A2-3E00-590D66E517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05C7E08-9E07-6069-E59D-AC728315019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1757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图示 5">
            <a:extLst>
              <a:ext uri="{FF2B5EF4-FFF2-40B4-BE49-F238E27FC236}">
                <a16:creationId xmlns:a16="http://schemas.microsoft.com/office/drawing/2014/main" id="{8793CD9B-2C9C-2C2D-70A9-B2088FA6C3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19159"/>
              </p:ext>
            </p:extLst>
          </p:nvPr>
        </p:nvGraphicFramePr>
        <p:xfrm>
          <a:off x="1330543" y="500056"/>
          <a:ext cx="10055615" cy="56001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7" name="标题 32">
            <a:extLst>
              <a:ext uri="{FF2B5EF4-FFF2-40B4-BE49-F238E27FC236}">
                <a16:creationId xmlns:a16="http://schemas.microsoft.com/office/drawing/2014/main" id="{67AD442A-3772-D7F0-3EA3-C8A820083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90" y="147712"/>
            <a:ext cx="1286782" cy="317197"/>
          </a:xfrm>
        </p:spPr>
        <p:txBody>
          <a:bodyPr vert="horz" rIns="91440">
            <a:noAutofit/>
          </a:bodyPr>
          <a:lstStyle/>
          <a:p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自我介绍</a:t>
            </a:r>
          </a:p>
        </p:txBody>
      </p:sp>
    </p:spTree>
    <p:extLst>
      <p:ext uri="{BB962C8B-B14F-4D97-AF65-F5344CB8AC3E}">
        <p14:creationId xmlns:p14="http://schemas.microsoft.com/office/powerpoint/2010/main" val="1896980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2910840" y="1748155"/>
            <a:ext cx="2451735" cy="2414270"/>
          </a:xfrm>
          <a:prstGeom prst="rect">
            <a:avLst/>
          </a:prstGeom>
          <a:noFill/>
          <a:ln w="28575">
            <a:solidFill>
              <a:srgbClr val="A41F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2266315" y="1935480"/>
            <a:ext cx="2674620" cy="2701290"/>
          </a:xfrm>
          <a:prstGeom prst="rect">
            <a:avLst/>
          </a:prstGeom>
          <a:solidFill>
            <a:srgbClr val="A41F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2" name="直接连接符 11"/>
          <p:cNvCxnSpPr/>
          <p:nvPr/>
        </p:nvCxnSpPr>
        <p:spPr>
          <a:xfrm flipV="1">
            <a:off x="4567555" y="1112520"/>
            <a:ext cx="870585" cy="87058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/>
        </p:nvCxnSpPr>
        <p:spPr>
          <a:xfrm flipV="1">
            <a:off x="4372610" y="1453515"/>
            <a:ext cx="568325" cy="56832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 flipV="1">
            <a:off x="4625340" y="1344930"/>
            <a:ext cx="728980" cy="72834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 flipV="1">
            <a:off x="4156075" y="1453515"/>
            <a:ext cx="587375" cy="58737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 flipV="1">
            <a:off x="4985945" y="1209710"/>
            <a:ext cx="135424" cy="13542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 flipV="1">
            <a:off x="2404477" y="4579501"/>
            <a:ext cx="405864" cy="405864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 flipV="1">
            <a:off x="1777365" y="4270375"/>
            <a:ext cx="1133475" cy="1134110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 flipV="1">
            <a:off x="2153375" y="5057373"/>
            <a:ext cx="202932" cy="202932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 flipV="1">
            <a:off x="2407769" y="4578478"/>
            <a:ext cx="595880" cy="580361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 flipV="1">
            <a:off x="2180338" y="5216485"/>
            <a:ext cx="191458" cy="202932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 flipV="1">
            <a:off x="2659796" y="4566585"/>
            <a:ext cx="479459" cy="490788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文本框 22"/>
          <p:cNvSpPr txBox="1"/>
          <p:nvPr/>
        </p:nvSpPr>
        <p:spPr>
          <a:xfrm>
            <a:off x="3028711" y="2300377"/>
            <a:ext cx="1107996" cy="1862048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altLang="zh-CN" sz="11500" spc="300" dirty="0">
                <a:solidFill>
                  <a:srgbClr val="E1DDD2"/>
                </a:solidFill>
                <a:effectLst/>
                <a:latin typeface="字魂35号-经典雅黑" panose="00000500000000000000" pitchFamily="2" charset="-122"/>
                <a:ea typeface="字魂35号-经典雅黑" panose="00000500000000000000" pitchFamily="2" charset="-122"/>
                <a:sym typeface="+mn-ea"/>
              </a:rPr>
              <a:t>1</a:t>
            </a:r>
          </a:p>
        </p:txBody>
      </p:sp>
      <p:sp>
        <p:nvSpPr>
          <p:cNvPr id="24" name="文本框 23"/>
          <p:cNvSpPr txBox="1"/>
          <p:nvPr/>
        </p:nvSpPr>
        <p:spPr>
          <a:xfrm>
            <a:off x="6007100" y="2769736"/>
            <a:ext cx="3108543" cy="92333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 sz="5400" spc="300" dirty="0">
                <a:effectLst/>
                <a:latin typeface="字魂57号-创细黑-Regular" panose="00000500000000000000" charset="-122"/>
                <a:ea typeface="字魂57号-创细黑-Regular" panose="00000500000000000000" charset="-122"/>
                <a:cs typeface="字魂35号-经典雅黑" panose="00000500000000000000" charset="-122"/>
                <a:sym typeface="+mn-ea"/>
              </a:rPr>
              <a:t>工作概述</a:t>
            </a:r>
          </a:p>
        </p:txBody>
      </p:sp>
    </p:spTree>
    <p:extLst>
      <p:ext uri="{BB962C8B-B14F-4D97-AF65-F5344CB8AC3E}">
        <p14:creationId xmlns:p14="http://schemas.microsoft.com/office/powerpoint/2010/main" val="33606656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2D89978-5C86-A3DC-F5D3-B71847B0B00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16225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标题 32"/>
          <p:cNvSpPr>
            <a:spLocks noGrp="1"/>
          </p:cNvSpPr>
          <p:nvPr>
            <p:ph type="title"/>
          </p:nvPr>
        </p:nvSpPr>
        <p:spPr>
          <a:xfrm>
            <a:off x="177490" y="147712"/>
            <a:ext cx="1286782" cy="317197"/>
          </a:xfrm>
        </p:spPr>
        <p:txBody>
          <a:bodyPr vert="horz" rIns="91440">
            <a:noAutofit/>
          </a:bodyPr>
          <a:lstStyle/>
          <a:p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工作概述</a:t>
            </a:r>
          </a:p>
        </p:txBody>
      </p:sp>
      <p:graphicFrame>
        <p:nvGraphicFramePr>
          <p:cNvPr id="3" name="图示 2"/>
          <p:cNvGraphicFramePr/>
          <p:nvPr>
            <p:extLst>
              <p:ext uri="{D42A27DB-BD31-4B8C-83A1-F6EECF244321}">
                <p14:modId xmlns:p14="http://schemas.microsoft.com/office/powerpoint/2010/main" val="3390010668"/>
              </p:ext>
            </p:extLst>
          </p:nvPr>
        </p:nvGraphicFramePr>
        <p:xfrm>
          <a:off x="962473" y="1224642"/>
          <a:ext cx="9896022" cy="3171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4" name="文本框 3"/>
          <p:cNvSpPr txBox="1"/>
          <p:nvPr/>
        </p:nvSpPr>
        <p:spPr>
          <a:xfrm>
            <a:off x="1191980" y="1730827"/>
            <a:ext cx="2898322" cy="23795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  <a:spcBef>
                <a:spcPts val="1200"/>
              </a:spcBef>
            </a:pPr>
            <a:r>
              <a:rPr lang="zh-CN" altLang="en-US" sz="1400" b="1" dirty="0">
                <a:solidFill>
                  <a:srgbClr val="D7011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夯实基础、快速学习</a:t>
            </a:r>
            <a:endParaRPr lang="en-US" altLang="zh-CN" sz="1400" b="1" dirty="0">
              <a:solidFill>
                <a:srgbClr val="D7011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</a:pPr>
            <a:r>
              <a:rPr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工作内容：</a:t>
            </a:r>
            <a:endParaRPr lang="en-US" altLang="zh-CN" sz="1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通过取数需求任务、简单的看板需求，总结整理新签、存量等业务使用的常用表和注意事项；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rgbClr val="0070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快速熟悉工作并胜任岗位，与业务方建立积极沟通合作关系：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完成品广看板建设（一期）、广告新签消耗数据看板；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4373331" y="1730827"/>
            <a:ext cx="2898322" cy="38415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  <a:spcBef>
                <a:spcPts val="1200"/>
              </a:spcBef>
            </a:pPr>
            <a:r>
              <a:rPr lang="zh-CN" altLang="en-US" sz="1400" b="1" dirty="0">
                <a:solidFill>
                  <a:srgbClr val="D7011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提升成长、解决问题</a:t>
            </a:r>
            <a:endParaRPr lang="en-US" altLang="zh-CN" sz="1400" b="1" dirty="0">
              <a:solidFill>
                <a:srgbClr val="D7011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</a:pPr>
            <a:r>
              <a:rPr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工作内容：</a:t>
            </a:r>
            <a:endParaRPr lang="en-US" altLang="zh-CN" sz="1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快速熟悉运维收入模式，完成运维数据体系建设</a:t>
            </a:r>
            <a:r>
              <a:rPr lang="zh-CN" altLang="en-US" sz="1200" dirty="0">
                <a:solidFill>
                  <a:srgbClr val="0070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，实现消耗异动监测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年费政策红包方案测算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KA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数据看板、荣誉激励看板、教培区域播报搭建等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日常维护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</a:pP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</a:pP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7554682" y="1730827"/>
            <a:ext cx="2898322" cy="2610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  <a:spcBef>
                <a:spcPts val="1200"/>
              </a:spcBef>
            </a:pPr>
            <a:r>
              <a:rPr lang="zh-CN" altLang="en-US" sz="1400" b="1" dirty="0">
                <a:solidFill>
                  <a:srgbClr val="D7011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专项分析、输出价值</a:t>
            </a:r>
            <a:endParaRPr lang="en-US" altLang="zh-CN" sz="1400" b="1" dirty="0">
              <a:solidFill>
                <a:srgbClr val="D7011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</a:pPr>
            <a:r>
              <a:rPr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工作内容：</a:t>
            </a:r>
            <a:endParaRPr lang="en-US" altLang="zh-CN" sz="1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新签运维业务数据底层建设，完成数据建模（数据表设计、数据开发）；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大区架构拆分方案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品广专项建设（看板、分析、意向）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经营分析，</a:t>
            </a:r>
            <a:r>
              <a:rPr lang="zh-CN" altLang="en-US" sz="1200" dirty="0">
                <a:solidFill>
                  <a:srgbClr val="0070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输出新签业务问题，反馈业务</a:t>
            </a:r>
            <a:r>
              <a:rPr lang="en-US" altLang="zh-CN" sz="1200" dirty="0">
                <a:solidFill>
                  <a:srgbClr val="0070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BP</a:t>
            </a:r>
            <a:r>
              <a:rPr lang="zh-CN" altLang="en-US" sz="1200" dirty="0">
                <a:solidFill>
                  <a:srgbClr val="0070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推动解决</a:t>
            </a:r>
            <a:endParaRPr lang="en-US" altLang="zh-CN" sz="1200" dirty="0">
              <a:solidFill>
                <a:srgbClr val="0070C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2010682" y="6099333"/>
            <a:ext cx="1107996" cy="5072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000"/>
              </a:lnSpc>
              <a:spcBef>
                <a:spcPts val="1200"/>
              </a:spcBef>
            </a:pPr>
            <a:r>
              <a:rPr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快速熟悉工作</a:t>
            </a:r>
            <a:endParaRPr lang="en-US" altLang="zh-CN" sz="1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ts val="1000"/>
              </a:lnSpc>
              <a:spcBef>
                <a:spcPts val="1200"/>
              </a:spcBef>
            </a:pPr>
            <a:r>
              <a:rPr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掌握工作技巧</a:t>
            </a:r>
            <a:endParaRPr lang="en-US" altLang="zh-CN" sz="1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5193850" y="6097056"/>
            <a:ext cx="1107996" cy="5072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000"/>
              </a:lnSpc>
              <a:spcBef>
                <a:spcPts val="1200"/>
              </a:spcBef>
            </a:pPr>
            <a:r>
              <a:rPr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锻炼分析思维</a:t>
            </a:r>
            <a:endParaRPr lang="en-US" altLang="zh-CN" sz="1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ts val="1000"/>
              </a:lnSpc>
              <a:spcBef>
                <a:spcPts val="1200"/>
              </a:spcBef>
            </a:pPr>
            <a:r>
              <a:rPr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提升工作效率</a:t>
            </a:r>
            <a:endParaRPr lang="en-US" altLang="zh-CN" sz="1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8377018" y="6097056"/>
            <a:ext cx="1107996" cy="50270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000"/>
              </a:lnSpc>
              <a:spcBef>
                <a:spcPts val="1200"/>
              </a:spcBef>
            </a:pPr>
            <a:r>
              <a:rPr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专题分析能力</a:t>
            </a:r>
            <a:endParaRPr lang="en-US" altLang="zh-CN" sz="1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ts val="1000"/>
              </a:lnSpc>
              <a:spcBef>
                <a:spcPts val="1200"/>
              </a:spcBef>
            </a:pPr>
            <a:r>
              <a:rPr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工作价值体现</a:t>
            </a:r>
            <a:endParaRPr lang="en-US" altLang="zh-CN" sz="1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DE62B51E-8B03-E3A4-F5B4-64930DFE3014}"/>
              </a:ext>
            </a:extLst>
          </p:cNvPr>
          <p:cNvSpPr txBox="1"/>
          <p:nvPr/>
        </p:nvSpPr>
        <p:spPr>
          <a:xfrm>
            <a:off x="1191980" y="4418166"/>
            <a:ext cx="289832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个人成长：</a:t>
            </a:r>
          </a:p>
          <a:p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工具技能：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熟悉</a:t>
            </a:r>
            <a:r>
              <a:rPr kumimoji="1" lang="e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BI</a:t>
            </a:r>
            <a:r>
              <a:rPr kumimoji="1" lang="zh-CN" altLang="e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、</a:t>
            </a:r>
            <a:r>
              <a:rPr kumimoji="1" lang="en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DataWorks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等平台的使用方法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zh-CN" sz="1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业务知识：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了解业务商业模式及组织架构</a:t>
            </a:r>
          </a:p>
          <a:p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68BBFDC-0165-BBFD-C2A4-433EFE8B0055}"/>
              </a:ext>
            </a:extLst>
          </p:cNvPr>
          <p:cNvSpPr txBox="1"/>
          <p:nvPr/>
        </p:nvSpPr>
        <p:spPr>
          <a:xfrm>
            <a:off x="4373331" y="4418166"/>
            <a:ext cx="289832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个人成长：</a:t>
            </a:r>
          </a:p>
          <a:p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业务建模：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熟悉业务，能进行数学建模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协调沟通：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高效对接业务方，评估需求合理性和紧急重要度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DF991CA-1740-32D0-17A1-A5EFD847BEA7}"/>
              </a:ext>
            </a:extLst>
          </p:cNvPr>
          <p:cNvSpPr txBox="1"/>
          <p:nvPr/>
        </p:nvSpPr>
        <p:spPr>
          <a:xfrm>
            <a:off x="7554682" y="4418166"/>
            <a:ext cx="289832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个人成长：</a:t>
            </a:r>
          </a:p>
          <a:p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业务探索：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能够深入业务，挖掘业务风险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协调沟通：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协同中台同学，驱动业务、指导业务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198406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2910840" y="1748155"/>
            <a:ext cx="2451735" cy="2414270"/>
          </a:xfrm>
          <a:prstGeom prst="rect">
            <a:avLst/>
          </a:prstGeom>
          <a:noFill/>
          <a:ln w="28575">
            <a:solidFill>
              <a:srgbClr val="A41F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2266315" y="1935480"/>
            <a:ext cx="2674620" cy="2701290"/>
          </a:xfrm>
          <a:prstGeom prst="rect">
            <a:avLst/>
          </a:prstGeom>
          <a:solidFill>
            <a:srgbClr val="A41F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2" name="直接连接符 11"/>
          <p:cNvCxnSpPr/>
          <p:nvPr/>
        </p:nvCxnSpPr>
        <p:spPr>
          <a:xfrm flipV="1">
            <a:off x="4567555" y="1112520"/>
            <a:ext cx="870585" cy="87058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/>
        </p:nvCxnSpPr>
        <p:spPr>
          <a:xfrm flipV="1">
            <a:off x="4372610" y="1453515"/>
            <a:ext cx="568325" cy="56832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 flipV="1">
            <a:off x="4625340" y="1344930"/>
            <a:ext cx="728980" cy="72834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 flipV="1">
            <a:off x="4156075" y="1453515"/>
            <a:ext cx="587375" cy="58737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 flipV="1">
            <a:off x="4985945" y="1209710"/>
            <a:ext cx="135424" cy="135425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 flipV="1">
            <a:off x="2404477" y="4579501"/>
            <a:ext cx="405864" cy="405864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 flipV="1">
            <a:off x="1777365" y="4270375"/>
            <a:ext cx="1133475" cy="1134110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 flipV="1">
            <a:off x="2153375" y="5057373"/>
            <a:ext cx="202932" cy="202932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 flipV="1">
            <a:off x="2407769" y="4578478"/>
            <a:ext cx="595880" cy="580361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 flipV="1">
            <a:off x="2180338" y="5216485"/>
            <a:ext cx="191458" cy="202932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 flipV="1">
            <a:off x="2659796" y="4566585"/>
            <a:ext cx="479459" cy="490788"/>
          </a:xfrm>
          <a:prstGeom prst="line">
            <a:avLst/>
          </a:prstGeom>
          <a:ln>
            <a:solidFill>
              <a:srgbClr val="A41F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文本框 22"/>
          <p:cNvSpPr txBox="1"/>
          <p:nvPr/>
        </p:nvSpPr>
        <p:spPr>
          <a:xfrm>
            <a:off x="3028711" y="2283934"/>
            <a:ext cx="1107996" cy="1862048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altLang="zh-CN" sz="11500" spc="300" dirty="0">
                <a:solidFill>
                  <a:srgbClr val="E1DDD2"/>
                </a:solidFill>
                <a:effectLst/>
                <a:latin typeface="字魂35号-经典雅黑" panose="00000500000000000000" pitchFamily="2" charset="-122"/>
                <a:ea typeface="字魂35号-经典雅黑" panose="00000500000000000000" pitchFamily="2" charset="-122"/>
                <a:sym typeface="+mn-ea"/>
              </a:rPr>
              <a:t>2</a:t>
            </a:r>
          </a:p>
        </p:txBody>
      </p:sp>
      <p:sp>
        <p:nvSpPr>
          <p:cNvPr id="24" name="文本框 23"/>
          <p:cNvSpPr txBox="1"/>
          <p:nvPr/>
        </p:nvSpPr>
        <p:spPr>
          <a:xfrm>
            <a:off x="6007100" y="2753293"/>
            <a:ext cx="3108543" cy="92333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 sz="5400" spc="300" dirty="0">
                <a:effectLst/>
                <a:latin typeface="字魂57号-创细黑-Regular" panose="00000500000000000000" charset="-122"/>
                <a:ea typeface="字魂57号-创细黑-Regular" panose="00000500000000000000" charset="-122"/>
                <a:cs typeface="字魂35号-经典雅黑" panose="00000500000000000000" charset="-122"/>
                <a:sym typeface="+mn-ea"/>
              </a:rPr>
              <a:t>重点工作</a:t>
            </a:r>
          </a:p>
        </p:txBody>
      </p:sp>
    </p:spTree>
    <p:extLst>
      <p:ext uri="{BB962C8B-B14F-4D97-AF65-F5344CB8AC3E}">
        <p14:creationId xmlns:p14="http://schemas.microsoft.com/office/powerpoint/2010/main" val="1977729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CF2FEB-4994-2BAE-F99C-8783AC6D67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圆角矩形 3">
            <a:extLst>
              <a:ext uri="{FF2B5EF4-FFF2-40B4-BE49-F238E27FC236}">
                <a16:creationId xmlns:a16="http://schemas.microsoft.com/office/drawing/2014/main" id="{F4AE9C5B-A52D-9EF5-8AB1-E5DB09662A4F}"/>
              </a:ext>
            </a:extLst>
          </p:cNvPr>
          <p:cNvSpPr/>
          <p:nvPr/>
        </p:nvSpPr>
        <p:spPr>
          <a:xfrm>
            <a:off x="2379508" y="221900"/>
            <a:ext cx="8327313" cy="1523215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200" dirty="0"/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B7546BA4-27FA-0204-5F18-32617F02C573}"/>
              </a:ext>
            </a:extLst>
          </p:cNvPr>
          <p:cNvSpPr/>
          <p:nvPr/>
        </p:nvSpPr>
        <p:spPr>
          <a:xfrm>
            <a:off x="2425481" y="2000375"/>
            <a:ext cx="8307911" cy="2907455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kumimoji="1" lang="zh-CN" altLang="en-US" sz="105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" name="圆角矩形 5">
            <a:extLst>
              <a:ext uri="{FF2B5EF4-FFF2-40B4-BE49-F238E27FC236}">
                <a16:creationId xmlns:a16="http://schemas.microsoft.com/office/drawing/2014/main" id="{ABBFDE34-B5E9-F186-9D50-3F8342053D71}"/>
              </a:ext>
            </a:extLst>
          </p:cNvPr>
          <p:cNvSpPr/>
          <p:nvPr/>
        </p:nvSpPr>
        <p:spPr>
          <a:xfrm>
            <a:off x="2379508" y="5139108"/>
            <a:ext cx="8350497" cy="1470293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zh-CN" altLang="en-US" sz="105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数据能力</a:t>
            </a:r>
          </a:p>
        </p:txBody>
      </p:sp>
      <p:sp>
        <p:nvSpPr>
          <p:cNvPr id="7" name="圆角矩形 6">
            <a:extLst>
              <a:ext uri="{FF2B5EF4-FFF2-40B4-BE49-F238E27FC236}">
                <a16:creationId xmlns:a16="http://schemas.microsoft.com/office/drawing/2014/main" id="{B3200540-6052-AFB5-C02E-86FD4F696728}"/>
              </a:ext>
            </a:extLst>
          </p:cNvPr>
          <p:cNvSpPr/>
          <p:nvPr/>
        </p:nvSpPr>
        <p:spPr>
          <a:xfrm>
            <a:off x="2452520" y="327362"/>
            <a:ext cx="1380904" cy="1259638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kumimoji="1" lang="en-US" altLang="zh-CN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endParaRPr kumimoji="1" lang="en-US" altLang="zh-CN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05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收入</a:t>
            </a: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341CB800-F264-BB5E-CF3D-A981F54D29F3}"/>
              </a:ext>
            </a:extLst>
          </p:cNvPr>
          <p:cNvGrpSpPr/>
          <p:nvPr/>
        </p:nvGrpSpPr>
        <p:grpSpPr>
          <a:xfrm>
            <a:off x="6572611" y="2931095"/>
            <a:ext cx="18720" cy="81360"/>
            <a:chOff x="5614744" y="2802451"/>
            <a:chExt cx="18720" cy="813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16" name="墨迹 15">
                  <a:extLst>
                    <a:ext uri="{FF2B5EF4-FFF2-40B4-BE49-F238E27FC236}">
                      <a16:creationId xmlns:a16="http://schemas.microsoft.com/office/drawing/2014/main" id="{9BDE7EB0-BE12-93DA-76E2-D8669F6BDE11}"/>
                    </a:ext>
                  </a:extLst>
                </p14:cNvPr>
                <p14:cNvContentPartPr/>
                <p14:nvPr/>
              </p14:nvContentPartPr>
              <p14:xfrm>
                <a:off x="5614744" y="2802451"/>
                <a:ext cx="360" cy="360"/>
              </p14:xfrm>
            </p:contentPart>
          </mc:Choice>
          <mc:Fallback xmlns="">
            <p:pic>
              <p:nvPicPr>
                <p:cNvPr id="16" name="墨迹 15">
                  <a:extLst>
                    <a:ext uri="{FF2B5EF4-FFF2-40B4-BE49-F238E27FC236}">
                      <a16:creationId xmlns:a16="http://schemas.microsoft.com/office/drawing/2014/main" id="{A58208DB-EA2E-CE8F-0B19-3460690AB38B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603944" y="2792011"/>
                  <a:ext cx="21600" cy="21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17" name="墨迹 16">
                  <a:extLst>
                    <a:ext uri="{FF2B5EF4-FFF2-40B4-BE49-F238E27FC236}">
                      <a16:creationId xmlns:a16="http://schemas.microsoft.com/office/drawing/2014/main" id="{9A9F3E9F-45E3-CFC1-FDDF-4183D78195BA}"/>
                    </a:ext>
                  </a:extLst>
                </p14:cNvPr>
                <p14:cNvContentPartPr/>
                <p14:nvPr/>
              </p14:nvContentPartPr>
              <p14:xfrm>
                <a:off x="5633104" y="2883451"/>
                <a:ext cx="360" cy="360"/>
              </p14:xfrm>
            </p:contentPart>
          </mc:Choice>
          <mc:Fallback xmlns="">
            <p:pic>
              <p:nvPicPr>
                <p:cNvPr id="17" name="墨迹 16">
                  <a:extLst>
                    <a:ext uri="{FF2B5EF4-FFF2-40B4-BE49-F238E27FC236}">
                      <a16:creationId xmlns:a16="http://schemas.microsoft.com/office/drawing/2014/main" id="{CF4BEDBA-465A-E782-691E-312B80337669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622304" y="2872651"/>
                  <a:ext cx="21600" cy="216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9FB5B03F-2B5D-10EF-28EE-B2B526FF216B}"/>
              </a:ext>
            </a:extLst>
          </p:cNvPr>
          <p:cNvSpPr/>
          <p:nvPr/>
        </p:nvSpPr>
        <p:spPr>
          <a:xfrm>
            <a:off x="8863807" y="402964"/>
            <a:ext cx="1683485" cy="1081669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zh-CN" altLang="en-US" sz="105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数据指标体系</a:t>
            </a:r>
            <a:endParaRPr kumimoji="1" lang="en-US" altLang="zh-CN" sz="105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ctr">
              <a:buFont typeface="Wingdings" pitchFamily="2" charset="2"/>
              <a:buChar char="Ø"/>
            </a:pPr>
            <a:r>
              <a:rPr kumimoji="1" lang="zh-CN" altLang="en-US" sz="10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顶层业务监测看板</a:t>
            </a:r>
          </a:p>
          <a:p>
            <a:pPr marL="171450" indent="-171450" algn="ctr">
              <a:buFont typeface="Wingdings" pitchFamily="2" charset="2"/>
              <a:buChar char="Ø"/>
            </a:pPr>
            <a:r>
              <a:rPr kumimoji="1" lang="zh-CN" altLang="en-US" sz="10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签约数据指标体系</a:t>
            </a:r>
            <a:endParaRPr kumimoji="1" lang="en-US" altLang="zh-CN" sz="1000" dirty="0">
              <a:solidFill>
                <a:schemeClr val="accent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ctr">
              <a:buFont typeface="Wingdings" pitchFamily="2" charset="2"/>
              <a:buChar char="Ø"/>
            </a:pPr>
            <a:r>
              <a:rPr kumimoji="1" lang="zh-CN" altLang="en-US" sz="1000" dirty="0">
                <a:solidFill>
                  <a:srgbClr val="7030A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运维数据指标体系</a:t>
            </a:r>
            <a:endParaRPr kumimoji="1" lang="en-US" altLang="zh-CN" sz="1000" dirty="0">
              <a:solidFill>
                <a:srgbClr val="7030A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50A24949-83DA-C12F-3395-3A84FA44A4F1}"/>
              </a:ext>
            </a:extLst>
          </p:cNvPr>
          <p:cNvSpPr/>
          <p:nvPr/>
        </p:nvSpPr>
        <p:spPr>
          <a:xfrm>
            <a:off x="4062344" y="263888"/>
            <a:ext cx="4544974" cy="1313668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zh-CN" altLang="en-US" sz="105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增长模型</a:t>
            </a: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BA1FF5BD-AD98-93D3-C443-25F95E69F7BB}"/>
              </a:ext>
            </a:extLst>
          </p:cNvPr>
          <p:cNvSpPr/>
          <p:nvPr/>
        </p:nvSpPr>
        <p:spPr>
          <a:xfrm>
            <a:off x="2628614" y="2468220"/>
            <a:ext cx="1170744" cy="2279433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kumimoji="1" lang="zh-CN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1" name="圆角矩形 30">
            <a:extLst>
              <a:ext uri="{FF2B5EF4-FFF2-40B4-BE49-F238E27FC236}">
                <a16:creationId xmlns:a16="http://schemas.microsoft.com/office/drawing/2014/main" id="{5042E622-A765-CB9D-B575-E67C2A167D23}"/>
              </a:ext>
            </a:extLst>
          </p:cNvPr>
          <p:cNvSpPr/>
          <p:nvPr/>
        </p:nvSpPr>
        <p:spPr>
          <a:xfrm>
            <a:off x="4198412" y="2468220"/>
            <a:ext cx="3300435" cy="2314795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kumimoji="1" lang="zh-CN" altLang="en-US" sz="105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535C1D79-B0C1-9CEF-528B-187DC3C5E5E7}"/>
              </a:ext>
            </a:extLst>
          </p:cNvPr>
          <p:cNvSpPr/>
          <p:nvPr/>
        </p:nvSpPr>
        <p:spPr>
          <a:xfrm>
            <a:off x="7804932" y="2470117"/>
            <a:ext cx="1241854" cy="2300167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kumimoji="1" lang="zh-CN" altLang="en-US" sz="105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34" name="图示 33">
            <a:extLst>
              <a:ext uri="{FF2B5EF4-FFF2-40B4-BE49-F238E27FC236}">
                <a16:creationId xmlns:a16="http://schemas.microsoft.com/office/drawing/2014/main" id="{71F802F0-4409-01D0-247C-A76A8F219B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2477242"/>
              </p:ext>
            </p:extLst>
          </p:nvPr>
        </p:nvGraphicFramePr>
        <p:xfrm>
          <a:off x="2714906" y="2697989"/>
          <a:ext cx="1089266" cy="1636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38" name="圆角矩形 37">
            <a:extLst>
              <a:ext uri="{FF2B5EF4-FFF2-40B4-BE49-F238E27FC236}">
                <a16:creationId xmlns:a16="http://schemas.microsoft.com/office/drawing/2014/main" id="{E75FD939-6215-C031-617D-88583BA2C358}"/>
              </a:ext>
            </a:extLst>
          </p:cNvPr>
          <p:cNvSpPr/>
          <p:nvPr/>
        </p:nvSpPr>
        <p:spPr>
          <a:xfrm>
            <a:off x="4508897" y="3660688"/>
            <a:ext cx="1254285" cy="920712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zh-CN" altLang="en-US" sz="1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架构维度</a:t>
            </a:r>
            <a:endParaRPr kumimoji="1" lang="en-US" altLang="zh-CN" sz="1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CN" altLang="en-US" sz="1000" dirty="0">
                <a:solidFill>
                  <a:srgbClr val="7030A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大区</a:t>
            </a:r>
            <a:endParaRPr kumimoji="1" lang="en-US" altLang="zh-CN" sz="1000" dirty="0">
              <a:solidFill>
                <a:srgbClr val="7030A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CN" altLang="en-US" sz="1000" dirty="0">
                <a:solidFill>
                  <a:srgbClr val="7030A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区域</a:t>
            </a:r>
            <a:endParaRPr kumimoji="1" lang="en-US" altLang="zh-CN" sz="1000" dirty="0">
              <a:solidFill>
                <a:srgbClr val="7030A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CN" altLang="en-US" sz="1000" dirty="0">
                <a:solidFill>
                  <a:srgbClr val="7030A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小组</a:t>
            </a:r>
            <a:endParaRPr kumimoji="1" lang="en-US" altLang="zh-CN" sz="1000" dirty="0">
              <a:solidFill>
                <a:srgbClr val="7030A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zh-CN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4E2CC51E-DE25-891D-D79C-5EAF23A233D9}"/>
              </a:ext>
            </a:extLst>
          </p:cNvPr>
          <p:cNvSpPr/>
          <p:nvPr/>
        </p:nvSpPr>
        <p:spPr>
          <a:xfrm>
            <a:off x="5958819" y="2652500"/>
            <a:ext cx="1254285" cy="909243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zh-CN" altLang="en-US" sz="1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类目</a:t>
            </a:r>
            <a:r>
              <a:rPr kumimoji="1" lang="en-US" altLang="zh-CN" sz="1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kumimoji="1" lang="zh-CN" altLang="en-US" sz="1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品牌</a:t>
            </a:r>
            <a:endParaRPr kumimoji="1" lang="en-US" altLang="zh-CN" sz="1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CN" altLang="en-US" sz="1000" dirty="0">
                <a:solidFill>
                  <a:srgbClr val="7030A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重点类目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CN" altLang="en-US" sz="1000" dirty="0">
                <a:solidFill>
                  <a:srgbClr val="7030A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品牌（</a:t>
            </a:r>
            <a:r>
              <a:rPr kumimoji="1" lang="en-US" altLang="zh-CN" sz="1000" dirty="0">
                <a:solidFill>
                  <a:srgbClr val="7030A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ID</a:t>
            </a:r>
            <a:r>
              <a:rPr kumimoji="1" lang="zh-CN" altLang="en-US" sz="1000" dirty="0">
                <a:solidFill>
                  <a:srgbClr val="7030A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kumimoji="1" lang="en-US" altLang="zh-CN" sz="1000" dirty="0">
              <a:solidFill>
                <a:srgbClr val="7030A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F043687B-17E8-3A7E-4D70-22BA5781F3A7}"/>
              </a:ext>
            </a:extLst>
          </p:cNvPr>
          <p:cNvSpPr/>
          <p:nvPr/>
        </p:nvSpPr>
        <p:spPr>
          <a:xfrm>
            <a:off x="5993336" y="3678967"/>
            <a:ext cx="1254285" cy="894864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zh-CN" altLang="en-US" sz="1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城市维度</a:t>
            </a:r>
            <a:endParaRPr kumimoji="1" lang="en-US" altLang="zh-CN" sz="1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CN" altLang="en-US" sz="1000" dirty="0">
                <a:solidFill>
                  <a:schemeClr val="bg1">
                    <a:lumMod val="6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省份</a:t>
            </a:r>
            <a:endParaRPr kumimoji="1" lang="en-US" altLang="zh-CN" sz="1000" dirty="0">
              <a:solidFill>
                <a:schemeClr val="bg1">
                  <a:lumMod val="6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CN" altLang="en-US" sz="1000" dirty="0">
                <a:solidFill>
                  <a:schemeClr val="bg1">
                    <a:lumMod val="6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城市</a:t>
            </a:r>
            <a:r>
              <a:rPr kumimoji="1" lang="en-US" altLang="zh-CN" sz="1000" dirty="0">
                <a:solidFill>
                  <a:schemeClr val="bg1">
                    <a:lumMod val="6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kumimoji="1" lang="zh-CN" altLang="en-US" sz="1000" dirty="0">
                <a:solidFill>
                  <a:schemeClr val="bg1">
                    <a:lumMod val="6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区域</a:t>
            </a:r>
          </a:p>
        </p:txBody>
      </p:sp>
      <p:sp>
        <p:nvSpPr>
          <p:cNvPr id="41" name="圆角矩形 40">
            <a:extLst>
              <a:ext uri="{FF2B5EF4-FFF2-40B4-BE49-F238E27FC236}">
                <a16:creationId xmlns:a16="http://schemas.microsoft.com/office/drawing/2014/main" id="{9E374ED0-B92F-6644-D85C-9223A56622A6}"/>
              </a:ext>
            </a:extLst>
          </p:cNvPr>
          <p:cNvSpPr/>
          <p:nvPr/>
        </p:nvSpPr>
        <p:spPr>
          <a:xfrm>
            <a:off x="4497729" y="2668934"/>
            <a:ext cx="1247168" cy="88095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zh-CN" altLang="en-US" sz="1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行业维度</a:t>
            </a:r>
            <a:endParaRPr kumimoji="1" lang="en-US" altLang="zh-CN" sz="1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000" dirty="0">
                <a:solidFill>
                  <a:schemeClr val="bg1">
                    <a:lumMod val="6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一级行业</a:t>
            </a:r>
            <a:endParaRPr kumimoji="1" lang="en-US" altLang="zh-CN" sz="1000" dirty="0">
              <a:solidFill>
                <a:schemeClr val="bg1">
                  <a:lumMod val="6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000" dirty="0">
                <a:solidFill>
                  <a:schemeClr val="bg1">
                    <a:lumMod val="6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二级行业</a:t>
            </a:r>
            <a:endParaRPr kumimoji="1" lang="en-US" altLang="zh-CN" sz="1000" dirty="0">
              <a:solidFill>
                <a:schemeClr val="bg1">
                  <a:lumMod val="6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zh-CN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A4F33C0A-B0A3-9DBE-C6F2-A241FE3260CB}"/>
              </a:ext>
            </a:extLst>
          </p:cNvPr>
          <p:cNvSpPr/>
          <p:nvPr/>
        </p:nvSpPr>
        <p:spPr>
          <a:xfrm>
            <a:off x="7964375" y="2650403"/>
            <a:ext cx="869795" cy="27406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销售因素</a:t>
            </a: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13238418-FBCD-A56C-E0B3-09104EFD89D7}"/>
              </a:ext>
            </a:extLst>
          </p:cNvPr>
          <p:cNvSpPr/>
          <p:nvPr/>
        </p:nvSpPr>
        <p:spPr>
          <a:xfrm>
            <a:off x="7964546" y="3161616"/>
            <a:ext cx="869795" cy="27406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竟品因素</a:t>
            </a: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248563A7-6491-D8C9-6844-0013B15988AF}"/>
              </a:ext>
            </a:extLst>
          </p:cNvPr>
          <p:cNvSpPr/>
          <p:nvPr/>
        </p:nvSpPr>
        <p:spPr>
          <a:xfrm>
            <a:off x="7964375" y="3678967"/>
            <a:ext cx="869795" cy="27406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流量因素</a:t>
            </a:r>
          </a:p>
        </p:txBody>
      </p:sp>
      <p:sp>
        <p:nvSpPr>
          <p:cNvPr id="46" name="右箭头 45">
            <a:extLst>
              <a:ext uri="{FF2B5EF4-FFF2-40B4-BE49-F238E27FC236}">
                <a16:creationId xmlns:a16="http://schemas.microsoft.com/office/drawing/2014/main" id="{D1DB276E-CEEA-F4EC-D195-EF5A5BE79FFB}"/>
              </a:ext>
            </a:extLst>
          </p:cNvPr>
          <p:cNvSpPr/>
          <p:nvPr/>
        </p:nvSpPr>
        <p:spPr>
          <a:xfrm>
            <a:off x="10788650" y="3256431"/>
            <a:ext cx="203984" cy="193833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20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7" name="圆角矩形 46">
            <a:extLst>
              <a:ext uri="{FF2B5EF4-FFF2-40B4-BE49-F238E27FC236}">
                <a16:creationId xmlns:a16="http://schemas.microsoft.com/office/drawing/2014/main" id="{D36E448A-38E3-211B-5FF1-D130A3837712}"/>
              </a:ext>
            </a:extLst>
          </p:cNvPr>
          <p:cNvSpPr/>
          <p:nvPr/>
        </p:nvSpPr>
        <p:spPr>
          <a:xfrm>
            <a:off x="11040220" y="1980437"/>
            <a:ext cx="1101035" cy="2894780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zh-CN" altLang="en-US" sz="105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业务反馈</a:t>
            </a:r>
            <a:endParaRPr kumimoji="1" lang="zh-CN" altLang="en-US" sz="1050" b="1" dirty="0"/>
          </a:p>
        </p:txBody>
      </p:sp>
      <p:sp>
        <p:nvSpPr>
          <p:cNvPr id="48" name="圆角矩形 47">
            <a:extLst>
              <a:ext uri="{FF2B5EF4-FFF2-40B4-BE49-F238E27FC236}">
                <a16:creationId xmlns:a16="http://schemas.microsoft.com/office/drawing/2014/main" id="{D60C80DF-F8DA-6E3D-7ABB-CB9532BD83DC}"/>
              </a:ext>
            </a:extLst>
          </p:cNvPr>
          <p:cNvSpPr/>
          <p:nvPr/>
        </p:nvSpPr>
        <p:spPr>
          <a:xfrm>
            <a:off x="11081234" y="341458"/>
            <a:ext cx="1058104" cy="1220875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zh-CN" altLang="en-US" sz="105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目标管理</a:t>
            </a:r>
            <a:endParaRPr kumimoji="1" lang="en-US" altLang="zh-CN" sz="105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1" lang="en-US" altLang="zh-CN" sz="105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  目标制定</a:t>
            </a:r>
            <a:endParaRPr kumimoji="1" lang="en-US" altLang="zh-CN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  过程追踪</a:t>
            </a:r>
            <a:endParaRPr kumimoji="1" lang="en-US" altLang="zh-CN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  月会复盘</a:t>
            </a:r>
            <a:endParaRPr kumimoji="1" lang="en-US" altLang="zh-CN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0F0175C8-3767-EABB-20D1-D7DEB750BF57}"/>
              </a:ext>
            </a:extLst>
          </p:cNvPr>
          <p:cNvSpPr txBox="1"/>
          <p:nvPr/>
        </p:nvSpPr>
        <p:spPr>
          <a:xfrm>
            <a:off x="7996323" y="2104117"/>
            <a:ext cx="80589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05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定位归因</a:t>
            </a:r>
          </a:p>
        </p:txBody>
      </p:sp>
      <p:sp>
        <p:nvSpPr>
          <p:cNvPr id="10" name="下箭头 9">
            <a:extLst>
              <a:ext uri="{FF2B5EF4-FFF2-40B4-BE49-F238E27FC236}">
                <a16:creationId xmlns:a16="http://schemas.microsoft.com/office/drawing/2014/main" id="{0AAD311A-3C3D-E6F9-406B-1C90CD6E3AE0}"/>
              </a:ext>
            </a:extLst>
          </p:cNvPr>
          <p:cNvSpPr/>
          <p:nvPr/>
        </p:nvSpPr>
        <p:spPr>
          <a:xfrm>
            <a:off x="6257198" y="1775124"/>
            <a:ext cx="158588" cy="205312"/>
          </a:xfrm>
          <a:prstGeom prst="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20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A2749DB6-FC84-70DA-8BCB-FC50BFF603A4}"/>
              </a:ext>
            </a:extLst>
          </p:cNvPr>
          <p:cNvSpPr txBox="1"/>
          <p:nvPr/>
        </p:nvSpPr>
        <p:spPr>
          <a:xfrm>
            <a:off x="4459991" y="2097660"/>
            <a:ext cx="298432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105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数据分析</a:t>
            </a:r>
            <a:r>
              <a:rPr kumimoji="1" lang="en-US" altLang="zh-CN" sz="105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kumimoji="1" lang="zh-CN" altLang="en-US" sz="105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定位问题</a:t>
            </a:r>
            <a:r>
              <a:rPr kumimoji="1" lang="en-US" altLang="zh-CN" sz="105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kumimoji="1" lang="zh-CN" altLang="en-US" sz="105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机会挖掘（维度下钻）</a:t>
            </a:r>
          </a:p>
        </p:txBody>
      </p:sp>
      <p:sp>
        <p:nvSpPr>
          <p:cNvPr id="14" name="左右箭头 13">
            <a:extLst>
              <a:ext uri="{FF2B5EF4-FFF2-40B4-BE49-F238E27FC236}">
                <a16:creationId xmlns:a16="http://schemas.microsoft.com/office/drawing/2014/main" id="{901B524E-9886-5CB2-4E7D-2625EA1C9181}"/>
              </a:ext>
            </a:extLst>
          </p:cNvPr>
          <p:cNvSpPr/>
          <p:nvPr/>
        </p:nvSpPr>
        <p:spPr>
          <a:xfrm>
            <a:off x="10785498" y="883096"/>
            <a:ext cx="254722" cy="193833"/>
          </a:xfrm>
          <a:prstGeom prst="left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200"/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68BE4317-FA8D-2466-C94A-BA2EC03F17A2}"/>
              </a:ext>
            </a:extLst>
          </p:cNvPr>
          <p:cNvSpPr/>
          <p:nvPr/>
        </p:nvSpPr>
        <p:spPr>
          <a:xfrm>
            <a:off x="11125862" y="3127630"/>
            <a:ext cx="996354" cy="329277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政策调整</a:t>
            </a:r>
          </a:p>
        </p:txBody>
      </p:sp>
      <p:sp>
        <p:nvSpPr>
          <p:cNvPr id="24" name="圆角矩形 23">
            <a:extLst>
              <a:ext uri="{FF2B5EF4-FFF2-40B4-BE49-F238E27FC236}">
                <a16:creationId xmlns:a16="http://schemas.microsoft.com/office/drawing/2014/main" id="{D59C5A6C-9E58-D216-2396-D123C7EE5E94}"/>
              </a:ext>
            </a:extLst>
          </p:cNvPr>
          <p:cNvSpPr/>
          <p:nvPr/>
        </p:nvSpPr>
        <p:spPr>
          <a:xfrm>
            <a:off x="7982885" y="4171688"/>
            <a:ext cx="869795" cy="27406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绩效政策</a:t>
            </a: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8E9B077D-D49E-17DA-0AA2-32C6E3AE838A}"/>
              </a:ext>
            </a:extLst>
          </p:cNvPr>
          <p:cNvSpPr/>
          <p:nvPr/>
        </p:nvSpPr>
        <p:spPr>
          <a:xfrm>
            <a:off x="2464723" y="5566303"/>
            <a:ext cx="2200715" cy="865865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数据诊断</a:t>
            </a:r>
          </a:p>
        </p:txBody>
      </p:sp>
      <p:sp>
        <p:nvSpPr>
          <p:cNvPr id="28" name="圆角矩形 27">
            <a:extLst>
              <a:ext uri="{FF2B5EF4-FFF2-40B4-BE49-F238E27FC236}">
                <a16:creationId xmlns:a16="http://schemas.microsoft.com/office/drawing/2014/main" id="{71E47F3D-2103-0A8C-00E2-7CC748B413D5}"/>
              </a:ext>
            </a:extLst>
          </p:cNvPr>
          <p:cNvSpPr/>
          <p:nvPr/>
        </p:nvSpPr>
        <p:spPr>
          <a:xfrm>
            <a:off x="4820377" y="5553245"/>
            <a:ext cx="4575339" cy="865865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zh-CN" altLang="en-US" sz="1000" dirty="0">
                <a:solidFill>
                  <a:schemeClr val="dk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分析挖掘</a:t>
            </a: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039F38E5-2489-DCB1-9393-7C0CA21C630B}"/>
              </a:ext>
            </a:extLst>
          </p:cNvPr>
          <p:cNvSpPr/>
          <p:nvPr/>
        </p:nvSpPr>
        <p:spPr>
          <a:xfrm>
            <a:off x="2534384" y="5953184"/>
            <a:ext cx="907024" cy="39702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异动诊断</a:t>
            </a: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0F19C25D-28C1-5CB2-4073-4E29F8F39E00}"/>
              </a:ext>
            </a:extLst>
          </p:cNvPr>
          <p:cNvSpPr/>
          <p:nvPr/>
        </p:nvSpPr>
        <p:spPr>
          <a:xfrm>
            <a:off x="3648271" y="5940121"/>
            <a:ext cx="907024" cy="39702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趋势诊断</a:t>
            </a:r>
          </a:p>
        </p:txBody>
      </p:sp>
      <p:sp>
        <p:nvSpPr>
          <p:cNvPr id="36" name="圆角矩形 35">
            <a:extLst>
              <a:ext uri="{FF2B5EF4-FFF2-40B4-BE49-F238E27FC236}">
                <a16:creationId xmlns:a16="http://schemas.microsoft.com/office/drawing/2014/main" id="{8B499FF5-9444-85AA-C4E7-0768D1394AAD}"/>
              </a:ext>
            </a:extLst>
          </p:cNvPr>
          <p:cNvSpPr/>
          <p:nvPr/>
        </p:nvSpPr>
        <p:spPr>
          <a:xfrm>
            <a:off x="5033912" y="5926378"/>
            <a:ext cx="907024" cy="39702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行业分析</a:t>
            </a: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B87B1EC6-9726-995E-6AB2-CA679E83766F}"/>
              </a:ext>
            </a:extLst>
          </p:cNvPr>
          <p:cNvSpPr/>
          <p:nvPr/>
        </p:nvSpPr>
        <p:spPr>
          <a:xfrm>
            <a:off x="6153699" y="5940994"/>
            <a:ext cx="907024" cy="39702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统计分析</a:t>
            </a: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A9DB9344-B6AB-74DA-D056-F2E67DB0AD14}"/>
              </a:ext>
            </a:extLst>
          </p:cNvPr>
          <p:cNvSpPr/>
          <p:nvPr/>
        </p:nvSpPr>
        <p:spPr>
          <a:xfrm>
            <a:off x="7273486" y="5940994"/>
            <a:ext cx="907024" cy="39702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下钻分析</a:t>
            </a:r>
          </a:p>
        </p:txBody>
      </p:sp>
      <p:sp>
        <p:nvSpPr>
          <p:cNvPr id="49" name="圆角矩形 48">
            <a:extLst>
              <a:ext uri="{FF2B5EF4-FFF2-40B4-BE49-F238E27FC236}">
                <a16:creationId xmlns:a16="http://schemas.microsoft.com/office/drawing/2014/main" id="{515FB321-8D02-7FF1-34D0-B4CD4FAD6072}"/>
              </a:ext>
            </a:extLst>
          </p:cNvPr>
          <p:cNvSpPr/>
          <p:nvPr/>
        </p:nvSpPr>
        <p:spPr>
          <a:xfrm>
            <a:off x="8325807" y="5940994"/>
            <a:ext cx="907024" cy="39702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漏斗分析</a:t>
            </a:r>
          </a:p>
        </p:txBody>
      </p:sp>
      <p:sp>
        <p:nvSpPr>
          <p:cNvPr id="53" name="右箭头 52">
            <a:extLst>
              <a:ext uri="{FF2B5EF4-FFF2-40B4-BE49-F238E27FC236}">
                <a16:creationId xmlns:a16="http://schemas.microsoft.com/office/drawing/2014/main" id="{EA4CCC72-5FEF-34EF-1E4D-B2DA4E0013BF}"/>
              </a:ext>
            </a:extLst>
          </p:cNvPr>
          <p:cNvSpPr/>
          <p:nvPr/>
        </p:nvSpPr>
        <p:spPr>
          <a:xfrm>
            <a:off x="10831161" y="5799685"/>
            <a:ext cx="190737" cy="193832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20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54" name="圆角矩形 53">
            <a:extLst>
              <a:ext uri="{FF2B5EF4-FFF2-40B4-BE49-F238E27FC236}">
                <a16:creationId xmlns:a16="http://schemas.microsoft.com/office/drawing/2014/main" id="{2A2BD764-5623-652C-1120-241E24C1D52C}"/>
              </a:ext>
            </a:extLst>
          </p:cNvPr>
          <p:cNvSpPr/>
          <p:nvPr/>
        </p:nvSpPr>
        <p:spPr>
          <a:xfrm>
            <a:off x="3155222" y="434795"/>
            <a:ext cx="561185" cy="29358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年费</a:t>
            </a:r>
          </a:p>
        </p:txBody>
      </p:sp>
      <p:sp>
        <p:nvSpPr>
          <p:cNvPr id="55" name="圆角矩形 54">
            <a:extLst>
              <a:ext uri="{FF2B5EF4-FFF2-40B4-BE49-F238E27FC236}">
                <a16:creationId xmlns:a16="http://schemas.microsoft.com/office/drawing/2014/main" id="{2EE11906-FA1A-8BE8-0D49-5F58AE1CF67E}"/>
              </a:ext>
            </a:extLst>
          </p:cNvPr>
          <p:cNvSpPr/>
          <p:nvPr/>
        </p:nvSpPr>
        <p:spPr>
          <a:xfrm>
            <a:off x="3155221" y="799133"/>
            <a:ext cx="561185" cy="29358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品广</a:t>
            </a:r>
          </a:p>
        </p:txBody>
      </p:sp>
      <p:sp>
        <p:nvSpPr>
          <p:cNvPr id="56" name="圆角矩形 55">
            <a:extLst>
              <a:ext uri="{FF2B5EF4-FFF2-40B4-BE49-F238E27FC236}">
                <a16:creationId xmlns:a16="http://schemas.microsoft.com/office/drawing/2014/main" id="{32E2898C-C007-83AD-D70F-34404A5EE304}"/>
              </a:ext>
            </a:extLst>
          </p:cNvPr>
          <p:cNvSpPr/>
          <p:nvPr/>
        </p:nvSpPr>
        <p:spPr>
          <a:xfrm>
            <a:off x="3158909" y="1194316"/>
            <a:ext cx="561185" cy="29358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效果</a:t>
            </a:r>
          </a:p>
        </p:txBody>
      </p:sp>
      <p:cxnSp>
        <p:nvCxnSpPr>
          <p:cNvPr id="58" name="直线连接符 57">
            <a:extLst>
              <a:ext uri="{FF2B5EF4-FFF2-40B4-BE49-F238E27FC236}">
                <a16:creationId xmlns:a16="http://schemas.microsoft.com/office/drawing/2014/main" id="{AD40FC08-5317-C596-81BD-3986B15FBBF1}"/>
              </a:ext>
            </a:extLst>
          </p:cNvPr>
          <p:cNvCxnSpPr>
            <a:endCxn id="54" idx="1"/>
          </p:cNvCxnSpPr>
          <p:nvPr/>
        </p:nvCxnSpPr>
        <p:spPr>
          <a:xfrm flipV="1">
            <a:off x="2833250" y="581585"/>
            <a:ext cx="321972" cy="2186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线连接符 60">
            <a:extLst>
              <a:ext uri="{FF2B5EF4-FFF2-40B4-BE49-F238E27FC236}">
                <a16:creationId xmlns:a16="http://schemas.microsoft.com/office/drawing/2014/main" id="{5F6FBE0D-BFF5-AA57-9EF6-2E9F93DA308D}"/>
              </a:ext>
            </a:extLst>
          </p:cNvPr>
          <p:cNvCxnSpPr>
            <a:cxnSpLocks/>
            <a:endCxn id="55" idx="1"/>
          </p:cNvCxnSpPr>
          <p:nvPr/>
        </p:nvCxnSpPr>
        <p:spPr>
          <a:xfrm>
            <a:off x="2833250" y="813982"/>
            <a:ext cx="321971" cy="1319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线连接符 62">
            <a:extLst>
              <a:ext uri="{FF2B5EF4-FFF2-40B4-BE49-F238E27FC236}">
                <a16:creationId xmlns:a16="http://schemas.microsoft.com/office/drawing/2014/main" id="{0F5FE7E3-CE68-35E7-759C-A71E6EFFFF7D}"/>
              </a:ext>
            </a:extLst>
          </p:cNvPr>
          <p:cNvCxnSpPr>
            <a:cxnSpLocks/>
            <a:endCxn id="56" idx="1"/>
          </p:cNvCxnSpPr>
          <p:nvPr/>
        </p:nvCxnSpPr>
        <p:spPr>
          <a:xfrm>
            <a:off x="2833249" y="882448"/>
            <a:ext cx="325660" cy="4586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圆角矩形 63">
            <a:extLst>
              <a:ext uri="{FF2B5EF4-FFF2-40B4-BE49-F238E27FC236}">
                <a16:creationId xmlns:a16="http://schemas.microsoft.com/office/drawing/2014/main" id="{A76B1338-55B0-27F4-705D-468B9EB686D6}"/>
              </a:ext>
            </a:extLst>
          </p:cNvPr>
          <p:cNvSpPr/>
          <p:nvPr/>
        </p:nvSpPr>
        <p:spPr>
          <a:xfrm>
            <a:off x="4699813" y="464444"/>
            <a:ext cx="1017023" cy="195497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加法模型</a:t>
            </a:r>
          </a:p>
        </p:txBody>
      </p:sp>
      <p:sp>
        <p:nvSpPr>
          <p:cNvPr id="65" name="圆角矩形 64">
            <a:extLst>
              <a:ext uri="{FF2B5EF4-FFF2-40B4-BE49-F238E27FC236}">
                <a16:creationId xmlns:a16="http://schemas.microsoft.com/office/drawing/2014/main" id="{8A00ADAC-FB70-399E-34E0-BFD22BA285F8}"/>
              </a:ext>
            </a:extLst>
          </p:cNvPr>
          <p:cNvSpPr/>
          <p:nvPr/>
        </p:nvSpPr>
        <p:spPr>
          <a:xfrm>
            <a:off x="7175810" y="461301"/>
            <a:ext cx="1370449" cy="177294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漏斗模型</a:t>
            </a:r>
          </a:p>
        </p:txBody>
      </p:sp>
      <p:sp>
        <p:nvSpPr>
          <p:cNvPr id="66" name="椭圆 65">
            <a:extLst>
              <a:ext uri="{FF2B5EF4-FFF2-40B4-BE49-F238E27FC236}">
                <a16:creationId xmlns:a16="http://schemas.microsoft.com/office/drawing/2014/main" id="{79543D07-F132-3497-3068-A0281BD67193}"/>
              </a:ext>
            </a:extLst>
          </p:cNvPr>
          <p:cNvSpPr/>
          <p:nvPr/>
        </p:nvSpPr>
        <p:spPr>
          <a:xfrm>
            <a:off x="5239337" y="910962"/>
            <a:ext cx="605306" cy="510330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签约</a:t>
            </a:r>
          </a:p>
        </p:txBody>
      </p:sp>
      <p:cxnSp>
        <p:nvCxnSpPr>
          <p:cNvPr id="68" name="直线连接符 67">
            <a:extLst>
              <a:ext uri="{FF2B5EF4-FFF2-40B4-BE49-F238E27FC236}">
                <a16:creationId xmlns:a16="http://schemas.microsoft.com/office/drawing/2014/main" id="{DF56A433-3C5D-127F-BC2F-33E3DAFB0572}"/>
              </a:ext>
            </a:extLst>
          </p:cNvPr>
          <p:cNvCxnSpPr>
            <a:cxnSpLocks/>
          </p:cNvCxnSpPr>
          <p:nvPr/>
        </p:nvCxnSpPr>
        <p:spPr>
          <a:xfrm flipV="1">
            <a:off x="5830241" y="878594"/>
            <a:ext cx="201535" cy="2132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直线连接符 71">
            <a:extLst>
              <a:ext uri="{FF2B5EF4-FFF2-40B4-BE49-F238E27FC236}">
                <a16:creationId xmlns:a16="http://schemas.microsoft.com/office/drawing/2014/main" id="{90F75AC6-7BE7-1614-9320-C1BAB69948C2}"/>
              </a:ext>
            </a:extLst>
          </p:cNvPr>
          <p:cNvCxnSpPr>
            <a:cxnSpLocks/>
          </p:cNvCxnSpPr>
          <p:nvPr/>
        </p:nvCxnSpPr>
        <p:spPr>
          <a:xfrm flipH="1">
            <a:off x="4998142" y="1137367"/>
            <a:ext cx="2101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圆角矩形 72">
            <a:extLst>
              <a:ext uri="{FF2B5EF4-FFF2-40B4-BE49-F238E27FC236}">
                <a16:creationId xmlns:a16="http://schemas.microsoft.com/office/drawing/2014/main" id="{6A01F7F9-244C-4ADD-E908-97F41D780CC1}"/>
              </a:ext>
            </a:extLst>
          </p:cNvPr>
          <p:cNvSpPr/>
          <p:nvPr/>
        </p:nvSpPr>
        <p:spPr>
          <a:xfrm>
            <a:off x="4419220" y="1012951"/>
            <a:ext cx="561185" cy="29358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品广</a:t>
            </a:r>
          </a:p>
        </p:txBody>
      </p:sp>
      <p:sp>
        <p:nvSpPr>
          <p:cNvPr id="74" name="圆角矩形 73">
            <a:extLst>
              <a:ext uri="{FF2B5EF4-FFF2-40B4-BE49-F238E27FC236}">
                <a16:creationId xmlns:a16="http://schemas.microsoft.com/office/drawing/2014/main" id="{DD9212A5-258A-A7E2-297A-003EB9D121E3}"/>
              </a:ext>
            </a:extLst>
          </p:cNvPr>
          <p:cNvSpPr/>
          <p:nvPr/>
        </p:nvSpPr>
        <p:spPr>
          <a:xfrm>
            <a:off x="6004013" y="716880"/>
            <a:ext cx="823549" cy="296071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年费</a:t>
            </a:r>
            <a:r>
              <a:rPr kumimoji="1" lang="en-US" altLang="zh-CN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(</a:t>
            </a:r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新</a:t>
            </a:r>
            <a:r>
              <a:rPr kumimoji="1" lang="en-US" altLang="zh-CN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)</a:t>
            </a:r>
            <a:endParaRPr kumimoji="1" lang="zh-CN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5" name="圆角矩形 74">
            <a:extLst>
              <a:ext uri="{FF2B5EF4-FFF2-40B4-BE49-F238E27FC236}">
                <a16:creationId xmlns:a16="http://schemas.microsoft.com/office/drawing/2014/main" id="{F9361C7E-3DCE-6717-5CAF-0340B606C6A0}"/>
              </a:ext>
            </a:extLst>
          </p:cNvPr>
          <p:cNvSpPr/>
          <p:nvPr/>
        </p:nvSpPr>
        <p:spPr>
          <a:xfrm>
            <a:off x="6004012" y="1178835"/>
            <a:ext cx="823549" cy="296071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年费</a:t>
            </a:r>
            <a:r>
              <a:rPr kumimoji="1" lang="en-US" altLang="zh-CN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(</a:t>
            </a:r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续</a:t>
            </a:r>
            <a:r>
              <a:rPr kumimoji="1" lang="en-US" altLang="zh-CN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)</a:t>
            </a:r>
            <a:endParaRPr kumimoji="1" lang="zh-CN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77" name="直线连接符 76">
            <a:extLst>
              <a:ext uri="{FF2B5EF4-FFF2-40B4-BE49-F238E27FC236}">
                <a16:creationId xmlns:a16="http://schemas.microsoft.com/office/drawing/2014/main" id="{2ABEBF18-97E8-E78A-6169-A8B45F4188F5}"/>
              </a:ext>
            </a:extLst>
          </p:cNvPr>
          <p:cNvCxnSpPr>
            <a:cxnSpLocks/>
            <a:stCxn id="66" idx="6"/>
            <a:endCxn id="75" idx="1"/>
          </p:cNvCxnSpPr>
          <p:nvPr/>
        </p:nvCxnSpPr>
        <p:spPr>
          <a:xfrm>
            <a:off x="5844643" y="1166127"/>
            <a:ext cx="159369" cy="1607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3" name="图示 82">
            <a:extLst>
              <a:ext uri="{FF2B5EF4-FFF2-40B4-BE49-F238E27FC236}">
                <a16:creationId xmlns:a16="http://schemas.microsoft.com/office/drawing/2014/main" id="{017AAFB8-7024-B357-EF00-4E8851E6F5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1177580"/>
              </p:ext>
            </p:extLst>
          </p:nvPr>
        </p:nvGraphicFramePr>
        <p:xfrm>
          <a:off x="7250915" y="710773"/>
          <a:ext cx="1231889" cy="868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84" name="右箭头 83">
            <a:extLst>
              <a:ext uri="{FF2B5EF4-FFF2-40B4-BE49-F238E27FC236}">
                <a16:creationId xmlns:a16="http://schemas.microsoft.com/office/drawing/2014/main" id="{C7B4D219-5784-5D2F-8C5D-DEC5F88BDF9B}"/>
              </a:ext>
            </a:extLst>
          </p:cNvPr>
          <p:cNvSpPr/>
          <p:nvPr/>
        </p:nvSpPr>
        <p:spPr>
          <a:xfrm>
            <a:off x="8664633" y="826451"/>
            <a:ext cx="177480" cy="198870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20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86" name="圆角矩形 85">
            <a:extLst>
              <a:ext uri="{FF2B5EF4-FFF2-40B4-BE49-F238E27FC236}">
                <a16:creationId xmlns:a16="http://schemas.microsoft.com/office/drawing/2014/main" id="{4C2F9748-0C11-C0A0-6D32-A4F54672B226}"/>
              </a:ext>
            </a:extLst>
          </p:cNvPr>
          <p:cNvSpPr/>
          <p:nvPr/>
        </p:nvSpPr>
        <p:spPr>
          <a:xfrm>
            <a:off x="9480015" y="5566303"/>
            <a:ext cx="1137586" cy="818357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可视化</a:t>
            </a:r>
          </a:p>
        </p:txBody>
      </p:sp>
      <p:sp>
        <p:nvSpPr>
          <p:cNvPr id="89" name="圆角矩形 88">
            <a:extLst>
              <a:ext uri="{FF2B5EF4-FFF2-40B4-BE49-F238E27FC236}">
                <a16:creationId xmlns:a16="http://schemas.microsoft.com/office/drawing/2014/main" id="{AEF92B5F-69FC-50E6-A59B-E5ABB863B70C}"/>
              </a:ext>
            </a:extLst>
          </p:cNvPr>
          <p:cNvSpPr/>
          <p:nvPr/>
        </p:nvSpPr>
        <p:spPr>
          <a:xfrm>
            <a:off x="9639546" y="5896601"/>
            <a:ext cx="907024" cy="39702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看板</a:t>
            </a:r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A61B1935-2759-D398-863A-CFCC8773B7DA}"/>
              </a:ext>
            </a:extLst>
          </p:cNvPr>
          <p:cNvSpPr txBox="1"/>
          <p:nvPr/>
        </p:nvSpPr>
        <p:spPr>
          <a:xfrm>
            <a:off x="2799784" y="2104117"/>
            <a:ext cx="104661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05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指标监控</a:t>
            </a:r>
          </a:p>
        </p:txBody>
      </p:sp>
      <p:sp>
        <p:nvSpPr>
          <p:cNvPr id="91" name="右箭头 90">
            <a:extLst>
              <a:ext uri="{FF2B5EF4-FFF2-40B4-BE49-F238E27FC236}">
                <a16:creationId xmlns:a16="http://schemas.microsoft.com/office/drawing/2014/main" id="{0B17D833-C2BC-6E06-CE6A-B83F7EC78EDD}"/>
              </a:ext>
            </a:extLst>
          </p:cNvPr>
          <p:cNvSpPr/>
          <p:nvPr/>
        </p:nvSpPr>
        <p:spPr>
          <a:xfrm>
            <a:off x="7541995" y="3261034"/>
            <a:ext cx="219789" cy="224299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20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93" name="直线连接符 92">
            <a:extLst>
              <a:ext uri="{FF2B5EF4-FFF2-40B4-BE49-F238E27FC236}">
                <a16:creationId xmlns:a16="http://schemas.microsoft.com/office/drawing/2014/main" id="{309FAD0E-BB9E-6CAF-A357-665E0A9E9F6E}"/>
              </a:ext>
            </a:extLst>
          </p:cNvPr>
          <p:cNvCxnSpPr>
            <a:cxnSpLocks/>
          </p:cNvCxnSpPr>
          <p:nvPr/>
        </p:nvCxnSpPr>
        <p:spPr>
          <a:xfrm>
            <a:off x="9354224" y="2013372"/>
            <a:ext cx="0" cy="2943922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4" name="文本框 93">
            <a:extLst>
              <a:ext uri="{FF2B5EF4-FFF2-40B4-BE49-F238E27FC236}">
                <a16:creationId xmlns:a16="http://schemas.microsoft.com/office/drawing/2014/main" id="{4D9ADD6D-567C-BD6F-88C8-DC8B3E403061}"/>
              </a:ext>
            </a:extLst>
          </p:cNvPr>
          <p:cNvSpPr txBox="1"/>
          <p:nvPr/>
        </p:nvSpPr>
        <p:spPr>
          <a:xfrm>
            <a:off x="9509150" y="2129946"/>
            <a:ext cx="9391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05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数据中台</a:t>
            </a:r>
          </a:p>
        </p:txBody>
      </p:sp>
      <p:sp>
        <p:nvSpPr>
          <p:cNvPr id="95" name="圆角矩形 94">
            <a:extLst>
              <a:ext uri="{FF2B5EF4-FFF2-40B4-BE49-F238E27FC236}">
                <a16:creationId xmlns:a16="http://schemas.microsoft.com/office/drawing/2014/main" id="{92465B66-D805-C2D2-F8CB-D0DB0356E0CC}"/>
              </a:ext>
            </a:extLst>
          </p:cNvPr>
          <p:cNvSpPr/>
          <p:nvPr/>
        </p:nvSpPr>
        <p:spPr>
          <a:xfrm>
            <a:off x="9666152" y="2688492"/>
            <a:ext cx="796095" cy="1692952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kumimoji="1" lang="zh-CN" altLang="en-US" sz="105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6" name="右箭头 95">
            <a:extLst>
              <a:ext uri="{FF2B5EF4-FFF2-40B4-BE49-F238E27FC236}">
                <a16:creationId xmlns:a16="http://schemas.microsoft.com/office/drawing/2014/main" id="{02D4257C-5796-37A7-1E3F-36068DCC1A47}"/>
              </a:ext>
            </a:extLst>
          </p:cNvPr>
          <p:cNvSpPr/>
          <p:nvPr/>
        </p:nvSpPr>
        <p:spPr>
          <a:xfrm>
            <a:off x="3953513" y="3298649"/>
            <a:ext cx="205800" cy="222576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20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8" name="左箭头 97">
            <a:extLst>
              <a:ext uri="{FF2B5EF4-FFF2-40B4-BE49-F238E27FC236}">
                <a16:creationId xmlns:a16="http://schemas.microsoft.com/office/drawing/2014/main" id="{6F4F023F-9DF0-E8F1-FCC3-411B15ECE8F5}"/>
              </a:ext>
            </a:extLst>
          </p:cNvPr>
          <p:cNvSpPr/>
          <p:nvPr/>
        </p:nvSpPr>
        <p:spPr>
          <a:xfrm>
            <a:off x="9403238" y="3274803"/>
            <a:ext cx="211824" cy="201050"/>
          </a:xfrm>
          <a:prstGeom prst="lef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200"/>
          </a:p>
        </p:txBody>
      </p:sp>
      <p:sp>
        <p:nvSpPr>
          <p:cNvPr id="99" name="圆角矩形 98">
            <a:extLst>
              <a:ext uri="{FF2B5EF4-FFF2-40B4-BE49-F238E27FC236}">
                <a16:creationId xmlns:a16="http://schemas.microsoft.com/office/drawing/2014/main" id="{16AC8F28-1F01-B83C-9B5B-96F7396E2697}"/>
              </a:ext>
            </a:extLst>
          </p:cNvPr>
          <p:cNvSpPr/>
          <p:nvPr/>
        </p:nvSpPr>
        <p:spPr>
          <a:xfrm>
            <a:off x="9764466" y="2843919"/>
            <a:ext cx="630802" cy="408208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数仓</a:t>
            </a:r>
            <a:endParaRPr kumimoji="1" lang="en-US" altLang="zh-CN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建设</a:t>
            </a:r>
          </a:p>
        </p:txBody>
      </p:sp>
      <p:sp>
        <p:nvSpPr>
          <p:cNvPr id="100" name="圆角矩形 99">
            <a:extLst>
              <a:ext uri="{FF2B5EF4-FFF2-40B4-BE49-F238E27FC236}">
                <a16:creationId xmlns:a16="http://schemas.microsoft.com/office/drawing/2014/main" id="{9EBD1F35-572F-F535-6850-9F9CEC8CC531}"/>
              </a:ext>
            </a:extLst>
          </p:cNvPr>
          <p:cNvSpPr/>
          <p:nvPr/>
        </p:nvSpPr>
        <p:spPr>
          <a:xfrm>
            <a:off x="9764466" y="3547504"/>
            <a:ext cx="630802" cy="408208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BI</a:t>
            </a:r>
            <a:endParaRPr kumimoji="1" lang="zh-CN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1" name="圆角矩形 100">
            <a:extLst>
              <a:ext uri="{FF2B5EF4-FFF2-40B4-BE49-F238E27FC236}">
                <a16:creationId xmlns:a16="http://schemas.microsoft.com/office/drawing/2014/main" id="{652A09A9-1B5C-9D50-38C8-8326C7B607F5}"/>
              </a:ext>
            </a:extLst>
          </p:cNvPr>
          <p:cNvSpPr/>
          <p:nvPr/>
        </p:nvSpPr>
        <p:spPr>
          <a:xfrm>
            <a:off x="11063624" y="5139108"/>
            <a:ext cx="1093323" cy="1470293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zh-CN" altLang="en-US" sz="105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业务沉淀</a:t>
            </a:r>
          </a:p>
        </p:txBody>
      </p:sp>
      <p:sp>
        <p:nvSpPr>
          <p:cNvPr id="102" name="上箭头 101">
            <a:extLst>
              <a:ext uri="{FF2B5EF4-FFF2-40B4-BE49-F238E27FC236}">
                <a16:creationId xmlns:a16="http://schemas.microsoft.com/office/drawing/2014/main" id="{8D7273A1-6E98-6133-F819-A9E040391591}"/>
              </a:ext>
            </a:extLst>
          </p:cNvPr>
          <p:cNvSpPr/>
          <p:nvPr/>
        </p:nvSpPr>
        <p:spPr>
          <a:xfrm>
            <a:off x="3150699" y="4907831"/>
            <a:ext cx="266568" cy="220160"/>
          </a:xfrm>
          <a:prstGeom prst="up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200"/>
          </a:p>
        </p:txBody>
      </p:sp>
      <p:sp>
        <p:nvSpPr>
          <p:cNvPr id="103" name="上箭头 102">
            <a:extLst>
              <a:ext uri="{FF2B5EF4-FFF2-40B4-BE49-F238E27FC236}">
                <a16:creationId xmlns:a16="http://schemas.microsoft.com/office/drawing/2014/main" id="{793C41ED-79FC-B8C7-0B5E-784682E482EA}"/>
              </a:ext>
            </a:extLst>
          </p:cNvPr>
          <p:cNvSpPr/>
          <p:nvPr/>
        </p:nvSpPr>
        <p:spPr>
          <a:xfrm>
            <a:off x="6651421" y="4886800"/>
            <a:ext cx="266568" cy="220160"/>
          </a:xfrm>
          <a:prstGeom prst="up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200"/>
          </a:p>
        </p:txBody>
      </p:sp>
      <p:sp>
        <p:nvSpPr>
          <p:cNvPr id="104" name="上箭头 103">
            <a:extLst>
              <a:ext uri="{FF2B5EF4-FFF2-40B4-BE49-F238E27FC236}">
                <a16:creationId xmlns:a16="http://schemas.microsoft.com/office/drawing/2014/main" id="{F06F18B9-C697-654A-213E-201FBBB30AE5}"/>
              </a:ext>
            </a:extLst>
          </p:cNvPr>
          <p:cNvSpPr/>
          <p:nvPr/>
        </p:nvSpPr>
        <p:spPr>
          <a:xfrm>
            <a:off x="9872709" y="4901063"/>
            <a:ext cx="266568" cy="220160"/>
          </a:xfrm>
          <a:prstGeom prst="up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200"/>
          </a:p>
        </p:txBody>
      </p:sp>
      <p:sp>
        <p:nvSpPr>
          <p:cNvPr id="8" name="圆角矩形 7">
            <a:extLst>
              <a:ext uri="{FF2B5EF4-FFF2-40B4-BE49-F238E27FC236}">
                <a16:creationId xmlns:a16="http://schemas.microsoft.com/office/drawing/2014/main" id="{2F9559EE-5522-C944-C9B4-37C796B25BA9}"/>
              </a:ext>
            </a:extLst>
          </p:cNvPr>
          <p:cNvSpPr/>
          <p:nvPr/>
        </p:nvSpPr>
        <p:spPr>
          <a:xfrm>
            <a:off x="11125862" y="3785743"/>
            <a:ext cx="996354" cy="329277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广告策略</a:t>
            </a:r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id="{E87D5CA7-248D-DCB0-C8E1-5C5B3B76113A}"/>
              </a:ext>
            </a:extLst>
          </p:cNvPr>
          <p:cNvSpPr/>
          <p:nvPr/>
        </p:nvSpPr>
        <p:spPr>
          <a:xfrm>
            <a:off x="11125862" y="2565896"/>
            <a:ext cx="996354" cy="329277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架构调整</a:t>
            </a:r>
          </a:p>
        </p:txBody>
      </p:sp>
      <p:sp>
        <p:nvSpPr>
          <p:cNvPr id="2" name="圆角矩形 1">
            <a:extLst>
              <a:ext uri="{FF2B5EF4-FFF2-40B4-BE49-F238E27FC236}">
                <a16:creationId xmlns:a16="http://schemas.microsoft.com/office/drawing/2014/main" id="{F0F838E2-56F6-EC88-4E6E-5D0DC3B59C77}"/>
              </a:ext>
            </a:extLst>
          </p:cNvPr>
          <p:cNvSpPr/>
          <p:nvPr/>
        </p:nvSpPr>
        <p:spPr>
          <a:xfrm>
            <a:off x="11394645" y="5598082"/>
            <a:ext cx="461229" cy="36128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产品</a:t>
            </a:r>
          </a:p>
        </p:txBody>
      </p:sp>
      <p:sp>
        <p:nvSpPr>
          <p:cNvPr id="3" name="圆角矩形 2">
            <a:extLst>
              <a:ext uri="{FF2B5EF4-FFF2-40B4-BE49-F238E27FC236}">
                <a16:creationId xmlns:a16="http://schemas.microsoft.com/office/drawing/2014/main" id="{907CF178-FB2E-3A9E-B05D-9971AF808035}"/>
              </a:ext>
            </a:extLst>
          </p:cNvPr>
          <p:cNvSpPr/>
          <p:nvPr/>
        </p:nvSpPr>
        <p:spPr>
          <a:xfrm>
            <a:off x="11407912" y="6072297"/>
            <a:ext cx="461229" cy="36128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销售</a:t>
            </a:r>
          </a:p>
        </p:txBody>
      </p:sp>
      <p:sp>
        <p:nvSpPr>
          <p:cNvPr id="11" name="下箭头 10">
            <a:extLst>
              <a:ext uri="{FF2B5EF4-FFF2-40B4-BE49-F238E27FC236}">
                <a16:creationId xmlns:a16="http://schemas.microsoft.com/office/drawing/2014/main" id="{60D55BD4-236C-FC4C-7922-5992290A04E4}"/>
              </a:ext>
            </a:extLst>
          </p:cNvPr>
          <p:cNvSpPr/>
          <p:nvPr/>
        </p:nvSpPr>
        <p:spPr>
          <a:xfrm>
            <a:off x="11500443" y="4875217"/>
            <a:ext cx="262925" cy="231745"/>
          </a:xfrm>
          <a:prstGeom prst="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200"/>
          </a:p>
        </p:txBody>
      </p:sp>
      <p:sp>
        <p:nvSpPr>
          <p:cNvPr id="12" name="右箭头 11">
            <a:extLst>
              <a:ext uri="{FF2B5EF4-FFF2-40B4-BE49-F238E27FC236}">
                <a16:creationId xmlns:a16="http://schemas.microsoft.com/office/drawing/2014/main" id="{EEB14415-CC07-0D22-6508-29F36A7F7554}"/>
              </a:ext>
            </a:extLst>
          </p:cNvPr>
          <p:cNvSpPr/>
          <p:nvPr/>
        </p:nvSpPr>
        <p:spPr>
          <a:xfrm>
            <a:off x="3876243" y="800870"/>
            <a:ext cx="177480" cy="198870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20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E61374A-5A28-24F6-0F7A-F3AC5CD74842}"/>
              </a:ext>
            </a:extLst>
          </p:cNvPr>
          <p:cNvSpPr txBox="1"/>
          <p:nvPr/>
        </p:nvSpPr>
        <p:spPr>
          <a:xfrm>
            <a:off x="7392" y="683288"/>
            <a:ext cx="232929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1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目标管理：</a:t>
            </a:r>
            <a:endParaRPr kumimoji="1" lang="en-US" altLang="zh-CN" sz="11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1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拆解业务目标，梳理业务增长模型，构建数据指标体系，得到可落的各级子指标及其数量关系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9BA711D7-9D83-803B-410A-71A5839C3291}"/>
              </a:ext>
            </a:extLst>
          </p:cNvPr>
          <p:cNvSpPr txBox="1"/>
          <p:nvPr/>
        </p:nvSpPr>
        <p:spPr>
          <a:xfrm>
            <a:off x="0" y="5144657"/>
            <a:ext cx="232929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1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数据能力：</a:t>
            </a:r>
            <a:endParaRPr kumimoji="1" lang="en-US" altLang="zh-CN" sz="11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1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从高频分析场景中，抽取数据方法、工具的需求。开发成可复用的数据能力项，提高分析效率</a:t>
            </a:r>
          </a:p>
        </p:txBody>
      </p:sp>
      <p:sp>
        <p:nvSpPr>
          <p:cNvPr id="30" name="下箭头 29">
            <a:extLst>
              <a:ext uri="{FF2B5EF4-FFF2-40B4-BE49-F238E27FC236}">
                <a16:creationId xmlns:a16="http://schemas.microsoft.com/office/drawing/2014/main" id="{9E3674CF-5CE6-2801-53D5-6DEA9C2B506D}"/>
              </a:ext>
            </a:extLst>
          </p:cNvPr>
          <p:cNvSpPr/>
          <p:nvPr/>
        </p:nvSpPr>
        <p:spPr>
          <a:xfrm>
            <a:off x="9705549" y="1781751"/>
            <a:ext cx="158588" cy="205312"/>
          </a:xfrm>
          <a:prstGeom prst="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200"/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4677D8CC-7A2A-B8D9-22AB-46FBC6F6CA8B}"/>
              </a:ext>
            </a:extLst>
          </p:cNvPr>
          <p:cNvSpPr txBox="1"/>
          <p:nvPr/>
        </p:nvSpPr>
        <p:spPr>
          <a:xfrm>
            <a:off x="53036" y="1987063"/>
            <a:ext cx="232929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1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异动监测：</a:t>
            </a:r>
            <a:endParaRPr kumimoji="1" lang="en-US" altLang="zh-CN" sz="11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1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针对核心指标，实现自波动告警功能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FB2D2580-525E-F7E7-76CF-53349FF3177A}"/>
              </a:ext>
            </a:extLst>
          </p:cNvPr>
          <p:cNvSpPr txBox="1"/>
          <p:nvPr/>
        </p:nvSpPr>
        <p:spPr>
          <a:xfrm>
            <a:off x="70014" y="2834912"/>
            <a:ext cx="232929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1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维度下钻：</a:t>
            </a:r>
            <a:endParaRPr kumimoji="1" lang="en-US" altLang="zh-CN" sz="11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1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根据指标波动，能实现维度下钻，给出指标波动贡献度</a:t>
            </a:r>
            <a:endParaRPr kumimoji="1" lang="en-US" altLang="zh-CN" sz="11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40AF6E18-B452-C158-FC73-832705F53301}"/>
              </a:ext>
            </a:extLst>
          </p:cNvPr>
          <p:cNvSpPr txBox="1"/>
          <p:nvPr/>
        </p:nvSpPr>
        <p:spPr>
          <a:xfrm>
            <a:off x="53036" y="3724977"/>
            <a:ext cx="232929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1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归因：</a:t>
            </a:r>
            <a:endParaRPr kumimoji="1" lang="en-US" altLang="zh-CN" sz="11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1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根据维度下钻定位到的问题进一步跟进业务问题，找到影响指标波动或则达不成的业务问题</a:t>
            </a:r>
            <a:endParaRPr kumimoji="1" lang="en-US" altLang="zh-CN" sz="11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0" name="下箭头 19">
            <a:extLst>
              <a:ext uri="{FF2B5EF4-FFF2-40B4-BE49-F238E27FC236}">
                <a16:creationId xmlns:a16="http://schemas.microsoft.com/office/drawing/2014/main" id="{EFDB3D5F-4E31-9F2F-9F38-0E35A7978270}"/>
              </a:ext>
            </a:extLst>
          </p:cNvPr>
          <p:cNvSpPr/>
          <p:nvPr/>
        </p:nvSpPr>
        <p:spPr>
          <a:xfrm>
            <a:off x="3356519" y="1787207"/>
            <a:ext cx="158588" cy="205312"/>
          </a:xfrm>
          <a:prstGeom prst="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200"/>
          </a:p>
        </p:txBody>
      </p:sp>
      <p:sp>
        <p:nvSpPr>
          <p:cNvPr id="69" name="标题 32">
            <a:extLst>
              <a:ext uri="{FF2B5EF4-FFF2-40B4-BE49-F238E27FC236}">
                <a16:creationId xmlns:a16="http://schemas.microsoft.com/office/drawing/2014/main" id="{EC55F44A-F9CE-2540-F2C4-35897564C93A}"/>
              </a:ext>
            </a:extLst>
          </p:cNvPr>
          <p:cNvSpPr txBox="1">
            <a:spLocks/>
          </p:cNvSpPr>
          <p:nvPr/>
        </p:nvSpPr>
        <p:spPr>
          <a:xfrm>
            <a:off x="130601" y="182859"/>
            <a:ext cx="1286782" cy="31719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tx1"/>
                </a:solidFill>
                <a:latin typeface="SimHei" panose="02010609060101010101" pitchFamily="49" charset="-122"/>
                <a:ea typeface="+mj-ea"/>
                <a:cs typeface="+mj-cs"/>
              </a:defRPr>
            </a:lvl1pPr>
          </a:lstStyle>
          <a:p>
            <a:r>
              <a:rPr lang="zh-CN" altLang="en-US" sz="2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工作框架</a:t>
            </a:r>
          </a:p>
        </p:txBody>
      </p:sp>
    </p:spTree>
    <p:extLst>
      <p:ext uri="{BB962C8B-B14F-4D97-AF65-F5344CB8AC3E}">
        <p14:creationId xmlns:p14="http://schemas.microsoft.com/office/powerpoint/2010/main" val="36663454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FD08E5-3101-7199-8E3A-D4B2B54D89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4A41636-28AC-8CA0-FDAE-E261F55308A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D89978-5C86-A3DC-F5D3-B71847B0B0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标题 32">
            <a:extLst>
              <a:ext uri="{FF2B5EF4-FFF2-40B4-BE49-F238E27FC236}">
                <a16:creationId xmlns:a16="http://schemas.microsoft.com/office/drawing/2014/main" id="{698A33B9-F610-D9B9-56F9-C565A0F0E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397" y="236922"/>
            <a:ext cx="9212036" cy="413034"/>
          </a:xfrm>
        </p:spPr>
        <p:txBody>
          <a:bodyPr vert="horz" rIns="91440">
            <a:noAutofit/>
          </a:bodyPr>
          <a:lstStyle/>
          <a:p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重点工作一：品牌广告数据建设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5AF29DB4-5810-7C2A-089A-D277AEE01988}"/>
              </a:ext>
            </a:extLst>
          </p:cNvPr>
          <p:cNvSpPr txBox="1"/>
          <p:nvPr/>
        </p:nvSpPr>
        <p:spPr>
          <a:xfrm>
            <a:off x="412595" y="688695"/>
            <a:ext cx="1160125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项目背景：</a:t>
            </a:r>
            <a:endParaRPr kumimoji="1" lang="en-US" altLang="zh-CN" sz="1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品广售卖缺少数据辅助，协助业务端优化售卖产品，包括售卖空间规划、售卖机会挖掘及售卖过程追踪，为品牌广告售卖提供精准数据支持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品牌广告全量上线后，缺乏对商家效果的深度数据分析，导致业务端难以评估广告资源的实际价值及优化方向。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3DF24BF7-8F30-A4B9-CEE7-3A3AD09BFEB8}"/>
              </a:ext>
            </a:extLst>
          </p:cNvPr>
          <p:cNvSpPr txBox="1"/>
          <p:nvPr/>
        </p:nvSpPr>
        <p:spPr>
          <a:xfrm>
            <a:off x="412595" y="1403799"/>
            <a:ext cx="8324715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主要工作：</a:t>
            </a:r>
            <a:endParaRPr kumimoji="1" lang="en-US" altLang="zh-CN" sz="1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品广数据看板：产品</a:t>
            </a: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团队计收、占期金额数据，细化至城市</a:t>
            </a: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类目占期情况，提供作业方向机会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制定品广意向回收表，建立售卖全流程数据追踪机制，实时监控小二作业效率与成果。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en-US" altLang="zh-CN" sz="1400" dirty="0">
              <a:solidFill>
                <a:schemeClr val="accent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亮点：从数据展示</a:t>
            </a:r>
            <a:r>
              <a:rPr kumimoji="1" lang="en-US" altLang="zh-CN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-&gt;</a:t>
            </a:r>
            <a:r>
              <a:rPr kumimoji="1" lang="zh-CN" altLang="en-US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机会挖掘</a:t>
            </a:r>
            <a:r>
              <a:rPr kumimoji="1" lang="en-US" altLang="zh-CN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-&gt;</a:t>
            </a:r>
            <a:r>
              <a:rPr kumimoji="1" lang="zh-CN" altLang="en-US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过程追踪</a:t>
            </a:r>
            <a:r>
              <a:rPr kumimoji="1" lang="en-US" altLang="zh-CN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-&gt;</a:t>
            </a:r>
            <a:r>
              <a:rPr kumimoji="1" lang="zh-CN" altLang="en-US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高频、渠道复用</a:t>
            </a:r>
            <a:r>
              <a:rPr kumimoji="1" lang="en-US" altLang="zh-CN" sz="1400" dirty="0">
                <a:solidFill>
                  <a:schemeClr val="accent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--&gt;</a:t>
            </a:r>
            <a:r>
              <a:rPr kumimoji="1" lang="zh-CN" altLang="en-US" sz="1400" dirty="0">
                <a:solidFill>
                  <a:schemeClr val="accent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工作方法论复用到新签</a:t>
            </a:r>
            <a:endParaRPr kumimoji="1" lang="en-US" altLang="zh-CN" sz="1400" dirty="0">
              <a:solidFill>
                <a:schemeClr val="accent5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	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 </a:t>
            </a:r>
          </a:p>
        </p:txBody>
      </p:sp>
      <p:sp>
        <p:nvSpPr>
          <p:cNvPr id="20" name="右箭头 19">
            <a:extLst>
              <a:ext uri="{FF2B5EF4-FFF2-40B4-BE49-F238E27FC236}">
                <a16:creationId xmlns:a16="http://schemas.microsoft.com/office/drawing/2014/main" id="{5CC62EBC-A27C-D9AC-93F8-CF806050D876}"/>
              </a:ext>
            </a:extLst>
          </p:cNvPr>
          <p:cNvSpPr/>
          <p:nvPr/>
        </p:nvSpPr>
        <p:spPr>
          <a:xfrm>
            <a:off x="4533835" y="3944146"/>
            <a:ext cx="470344" cy="32655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22" name="图片 21">
            <a:extLst>
              <a:ext uri="{FF2B5EF4-FFF2-40B4-BE49-F238E27FC236}">
                <a16:creationId xmlns:a16="http://schemas.microsoft.com/office/drawing/2014/main" id="{4C65DA71-8F23-B13B-54BD-4F474E92B0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75653" y="2635132"/>
            <a:ext cx="3707766" cy="954107"/>
          </a:xfrm>
          <a:prstGeom prst="rect">
            <a:avLst/>
          </a:prstGeom>
        </p:spPr>
      </p:pic>
      <p:pic>
        <p:nvPicPr>
          <p:cNvPr id="23" name="图片 22">
            <a:extLst>
              <a:ext uri="{FF2B5EF4-FFF2-40B4-BE49-F238E27FC236}">
                <a16:creationId xmlns:a16="http://schemas.microsoft.com/office/drawing/2014/main" id="{445DBB27-2E57-4E1E-AFD4-578DCAC030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5551" y="3143315"/>
            <a:ext cx="3906806" cy="1864105"/>
          </a:xfrm>
          <a:prstGeom prst="rect">
            <a:avLst/>
          </a:prstGeom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8379993C-1AC3-092A-F255-F8D154BAF399}"/>
              </a:ext>
            </a:extLst>
          </p:cNvPr>
          <p:cNvSpPr txBox="1"/>
          <p:nvPr/>
        </p:nvSpPr>
        <p:spPr>
          <a:xfrm>
            <a:off x="1626757" y="5884016"/>
            <a:ext cx="1971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行业</a:t>
            </a: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✖️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城市占期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6FE8803B-1550-E722-6640-28367EBCF68D}"/>
              </a:ext>
            </a:extLst>
          </p:cNvPr>
          <p:cNvSpPr txBox="1"/>
          <p:nvPr/>
        </p:nvSpPr>
        <p:spPr>
          <a:xfrm>
            <a:off x="6196197" y="5899825"/>
            <a:ext cx="14666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意向过程追踪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47D52853-E041-76B4-686D-9EC4CCDC7E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69975" y="2230534"/>
            <a:ext cx="1374222" cy="1765876"/>
          </a:xfrm>
          <a:prstGeom prst="rect">
            <a:avLst/>
          </a:prstGeom>
        </p:spPr>
      </p:pic>
      <p:sp>
        <p:nvSpPr>
          <p:cNvPr id="5" name="右箭头 4">
            <a:extLst>
              <a:ext uri="{FF2B5EF4-FFF2-40B4-BE49-F238E27FC236}">
                <a16:creationId xmlns:a16="http://schemas.microsoft.com/office/drawing/2014/main" id="{340A0588-7151-5EA7-230A-30920939E64B}"/>
              </a:ext>
            </a:extLst>
          </p:cNvPr>
          <p:cNvSpPr/>
          <p:nvPr/>
        </p:nvSpPr>
        <p:spPr>
          <a:xfrm rot="20228120">
            <a:off x="8971382" y="3591309"/>
            <a:ext cx="470344" cy="32655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" name="右箭头 5">
            <a:extLst>
              <a:ext uri="{FF2B5EF4-FFF2-40B4-BE49-F238E27FC236}">
                <a16:creationId xmlns:a16="http://schemas.microsoft.com/office/drawing/2014/main" id="{87F18941-3C5F-21FC-A302-AA64C23EB558}"/>
              </a:ext>
            </a:extLst>
          </p:cNvPr>
          <p:cNvSpPr/>
          <p:nvPr/>
        </p:nvSpPr>
        <p:spPr>
          <a:xfrm rot="1873401">
            <a:off x="8971383" y="4074958"/>
            <a:ext cx="470344" cy="32655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D96F0F7E-4C81-C219-917E-2D295197B1B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37950" y="4482233"/>
            <a:ext cx="2679104" cy="1205597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D938E96B-A3DA-BD07-576A-FC1C797B36E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75654" y="3853763"/>
            <a:ext cx="3692726" cy="1153658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B644D051-2D62-F56A-8A8B-F637426BF861}"/>
              </a:ext>
            </a:extLst>
          </p:cNvPr>
          <p:cNvSpPr txBox="1"/>
          <p:nvPr/>
        </p:nvSpPr>
        <p:spPr>
          <a:xfrm>
            <a:off x="10257086" y="5870837"/>
            <a:ext cx="9344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看板复用</a:t>
            </a:r>
          </a:p>
        </p:txBody>
      </p:sp>
    </p:spTree>
    <p:extLst>
      <p:ext uri="{BB962C8B-B14F-4D97-AF65-F5344CB8AC3E}">
        <p14:creationId xmlns:p14="http://schemas.microsoft.com/office/powerpoint/2010/main" val="22123202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282339-25C6-2799-1766-2A4E3F8CC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CE64EF4-3590-FA03-DDAE-F3AA54EA2F1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A41636-28AC-8CA0-FDAE-E261F55308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标题 32">
            <a:extLst>
              <a:ext uri="{FF2B5EF4-FFF2-40B4-BE49-F238E27FC236}">
                <a16:creationId xmlns:a16="http://schemas.microsoft.com/office/drawing/2014/main" id="{B7936B90-4411-9FD0-1AC8-70FEA5C363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397" y="236922"/>
            <a:ext cx="9212036" cy="413034"/>
          </a:xfrm>
        </p:spPr>
        <p:txBody>
          <a:bodyPr vert="horz" rIns="91440">
            <a:noAutofit/>
          </a:bodyPr>
          <a:lstStyle/>
          <a:p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重点工作二：运维数据体系建设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521B8187-7AC8-7027-DBBC-A61FE3FDECB8}"/>
              </a:ext>
            </a:extLst>
          </p:cNvPr>
          <p:cNvSpPr txBox="1"/>
          <p:nvPr/>
        </p:nvSpPr>
        <p:spPr>
          <a:xfrm>
            <a:off x="412595" y="672539"/>
            <a:ext cx="100591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项目背景：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运维团队缺少消耗数据支持，无法定位二级团队、人、品牌、户的消耗波动情况，需要数据监控看板及时发现问题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A6D4DF64-7611-ACD9-0C70-5F955E1E59B1}"/>
              </a:ext>
            </a:extLst>
          </p:cNvPr>
          <p:cNvSpPr txBox="1"/>
          <p:nvPr/>
        </p:nvSpPr>
        <p:spPr>
          <a:xfrm>
            <a:off x="412595" y="1095676"/>
            <a:ext cx="76771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主要工作：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搭建运维数据指标体系，包括底层数据建模、看板搭建、异动监测模块等</a:t>
            </a: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	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 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39E1F920-B22E-34F8-3785-E86C4C137B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80206" y="4268456"/>
            <a:ext cx="2694831" cy="1917005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D2677A80-229F-984F-B471-9D669A2D713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4397" y="1985788"/>
            <a:ext cx="7044350" cy="2013419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FFC35046-50C4-6264-C44E-1C60F8D4596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2595" y="4268456"/>
            <a:ext cx="3960518" cy="1917005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44C2FE7A-DB58-6C2F-30D9-13B50D1C9715}"/>
              </a:ext>
            </a:extLst>
          </p:cNvPr>
          <p:cNvSpPr txBox="1"/>
          <p:nvPr/>
        </p:nvSpPr>
        <p:spPr>
          <a:xfrm>
            <a:off x="412595" y="1493861"/>
            <a:ext cx="78886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亮点：不仅仅是简单的看板呈现，能实现维度下钻与问题归因（人</a:t>
            </a:r>
            <a:r>
              <a:rPr kumimoji="1" lang="en-US" altLang="zh-CN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-&gt;</a:t>
            </a:r>
            <a:r>
              <a:rPr kumimoji="1" lang="zh-CN" altLang="en-US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品牌</a:t>
            </a:r>
            <a:r>
              <a:rPr kumimoji="1" lang="en-US" altLang="zh-CN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-&gt;</a:t>
            </a:r>
            <a:r>
              <a:rPr kumimoji="1" lang="zh-CN" altLang="en-US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户</a:t>
            </a:r>
            <a:r>
              <a:rPr kumimoji="1" lang="en-US" altLang="zh-CN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-&gt;</a:t>
            </a:r>
            <a:r>
              <a:rPr kumimoji="1" lang="zh-CN" altLang="en-US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门店</a:t>
            </a:r>
            <a:r>
              <a:rPr kumimoji="1" lang="en-US" altLang="zh-CN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-&gt;</a:t>
            </a:r>
            <a:r>
              <a:rPr kumimoji="1" lang="zh-CN" altLang="en-US" sz="14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归因）</a:t>
            </a: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89D2E114-2CCF-DED0-F425-6D064194BC3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67203" y="1898850"/>
            <a:ext cx="3554178" cy="2100358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352AE63C-9E1D-E4FB-951D-87D27EEBD233}"/>
              </a:ext>
            </a:extLst>
          </p:cNvPr>
          <p:cNvSpPr txBox="1"/>
          <p:nvPr/>
        </p:nvSpPr>
        <p:spPr>
          <a:xfrm>
            <a:off x="8409256" y="4033866"/>
            <a:ext cx="30700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业务归因：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12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月初停投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3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天，门店出价下滑</a:t>
            </a:r>
          </a:p>
        </p:txBody>
      </p:sp>
      <p:sp>
        <p:nvSpPr>
          <p:cNvPr id="18" name="右箭头 17">
            <a:extLst>
              <a:ext uri="{FF2B5EF4-FFF2-40B4-BE49-F238E27FC236}">
                <a16:creationId xmlns:a16="http://schemas.microsoft.com/office/drawing/2014/main" id="{D94602DE-F861-0846-7C0E-D8F63DD9754C}"/>
              </a:ext>
            </a:extLst>
          </p:cNvPr>
          <p:cNvSpPr/>
          <p:nvPr/>
        </p:nvSpPr>
        <p:spPr>
          <a:xfrm>
            <a:off x="7595701" y="3946256"/>
            <a:ext cx="446376" cy="3222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CDDC6CBE-784A-3ED7-6567-D6D756203FE9}"/>
              </a:ext>
            </a:extLst>
          </p:cNvPr>
          <p:cNvSpPr txBox="1"/>
          <p:nvPr/>
        </p:nvSpPr>
        <p:spPr>
          <a:xfrm>
            <a:off x="4373114" y="6292546"/>
            <a:ext cx="32225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问题定位：中科百年</a:t>
            </a:r>
            <a:r>
              <a:rPr lang="zh-CN" altLang="en-US" sz="12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下降</a:t>
            </a:r>
            <a:r>
              <a:rPr lang="en-US" altLang="zh-CN" sz="12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41%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导致整体下降</a:t>
            </a:r>
          </a:p>
          <a:p>
            <a:b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3E19CBC-876F-5449-2E99-56361B29958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67203" y="4528251"/>
            <a:ext cx="3554178" cy="1225222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6603D8C7-84ED-E742-781D-4A3C8E96DA47}"/>
              </a:ext>
            </a:extLst>
          </p:cNvPr>
          <p:cNvSpPr txBox="1"/>
          <p:nvPr/>
        </p:nvSpPr>
        <p:spPr>
          <a:xfrm>
            <a:off x="9082516" y="5832359"/>
            <a:ext cx="1877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业务动作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：跟进北京客资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4900AC9-59D0-77B6-DA84-5B8CF2C77484}"/>
              </a:ext>
            </a:extLst>
          </p:cNvPr>
          <p:cNvSpPr txBox="1"/>
          <p:nvPr/>
        </p:nvSpPr>
        <p:spPr>
          <a:xfrm>
            <a:off x="2503720" y="3852957"/>
            <a:ext cx="32225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发现问题：王齐现金消耗环比下降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12%</a:t>
            </a:r>
            <a:b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699014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32687&quot;&gt;&lt;version val=&quot;38499&quot;/&gt;&lt;CPresentation id=&quot;1&quot;&gt;&lt;m_precDefaultOrdinal&gt;&lt;m_yearfmt&gt;&lt;begin val=&quot;0&quot;/&gt;&lt;end val=&quot;4&quot;/&gt;&lt;/m_yearfmt&gt;&lt;/m_precDefaultOrdinal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diagram"/>
  <p:tag name="KSO_WM_TEMPLATE_INDEX" val="160484"/>
  <p:tag name="KSO_WM_UNIT_TYPE" val="m_i"/>
  <p:tag name="KSO_WM_UNIT_INDEX" val="1_2"/>
  <p:tag name="KSO_WM_UNIT_ID" val="260*m_i*1_2"/>
  <p:tag name="KSO_WM_UNIT_CLEAR" val="1"/>
  <p:tag name="KSO_WM_UNIT_LAYERLEVEL" val="1_1"/>
  <p:tag name="KSO_WM_BEAUTIFY_FLAG" val="#wm#"/>
  <p:tag name="KSO_WM_DIAGRAM_GROUP_CODE" val="m1-1"/>
  <p:tag name="KSO_WM_UNIT_FILL_FORE_SCHEMECOLOR_INDEX" val="5"/>
  <p:tag name="KSO_WM_UNIT_FILL_TYPE" val="1"/>
  <p:tag name="KSO_WM_UNIT_TEXT_FILL_FORE_SCHEMECOLOR_INDEX" val="14"/>
  <p:tag name="KSO_WM_UNIT_TEXT_FILL_TYPE" val="1"/>
  <p:tag name="KSO_WM_UNIT_USESOURCEFORMAT_APPLY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diagram"/>
  <p:tag name="KSO_WM_TEMPLATE_INDEX" val="160484"/>
  <p:tag name="KSO_WM_UNIT_TYPE" val="m_i"/>
  <p:tag name="KSO_WM_UNIT_INDEX" val="1_3"/>
  <p:tag name="KSO_WM_UNIT_ID" val="260*m_i*1_3"/>
  <p:tag name="KSO_WM_UNIT_CLEAR" val="1"/>
  <p:tag name="KSO_WM_UNIT_LAYERLEVEL" val="1_1"/>
  <p:tag name="KSO_WM_BEAUTIFY_FLAG" val="#wm#"/>
  <p:tag name="KSO_WM_DIAGRAM_GROUP_CODE" val="m1-1"/>
  <p:tag name="KSO_WM_UNIT_FILL_FORE_SCHEMECOLOR_INDEX" val="5"/>
  <p:tag name="KSO_WM_UNIT_FILL_TYPE" val="1"/>
  <p:tag name="KSO_WM_UNIT_TEXT_FILL_FORE_SCHEMECOLOR_INDEX" val="2"/>
  <p:tag name="KSO_WM_UNIT_TEXT_FILL_TYPE" val="1"/>
  <p:tag name="KSO_WM_UNIT_USESOURCEFORMAT_APPLY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diagram"/>
  <p:tag name="KSO_WM_TEMPLATE_INDEX" val="160484"/>
  <p:tag name="KSO_WM_UNIT_TYPE" val="m_h_f"/>
  <p:tag name="KSO_WM_UNIT_INDEX" val="1_1_1"/>
  <p:tag name="KSO_WM_UNIT_ID" val="260*m_h_f*1_1_1"/>
  <p:tag name="KSO_WM_UNIT_CLEAR" val="1"/>
  <p:tag name="KSO_WM_UNIT_LAYERLEVEL" val="1_1_1"/>
  <p:tag name="KSO_WM_UNIT_VALUE" val="9"/>
  <p:tag name="KSO_WM_UNIT_HIGHLIGHT" val="0"/>
  <p:tag name="KSO_WM_UNIT_COMPATIBLE" val="0"/>
  <p:tag name="KSO_WM_BEAUTIFY_FLAG" val="#wm#"/>
  <p:tag name="KSO_WM_DIAGRAM_GROUP_CODE" val="m1-1"/>
  <p:tag name="KSO_WM_UNIT_PRESET_TEXT" val="LOREM IPSUM"/>
  <p:tag name="KSO_WM_UNIT_TEXT_FILL_FORE_SCHEMECOLOR_INDEX" val="5"/>
  <p:tag name="KSO_WM_UNIT_TEXT_FILL_TYPE" val="1"/>
  <p:tag name="KSO_WM_UNIT_USESOURCEFORMAT_APPLY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diagram"/>
  <p:tag name="KSO_WM_TEMPLATE_INDEX" val="160484"/>
  <p:tag name="KSO_WM_UNIT_TYPE" val="m_i"/>
  <p:tag name="KSO_WM_UNIT_INDEX" val="1_6"/>
  <p:tag name="KSO_WM_UNIT_ID" val="260*m_i*1_6"/>
  <p:tag name="KSO_WM_UNIT_CLEAR" val="1"/>
  <p:tag name="KSO_WM_UNIT_LAYERLEVEL" val="1_1"/>
  <p:tag name="KSO_WM_BEAUTIFY_FLAG" val="#wm#"/>
  <p:tag name="KSO_WM_DIAGRAM_GROUP_CODE" val="m1-1"/>
  <p:tag name="KSO_WM_UNIT_FILL_FORE_SCHEMECOLOR_INDEX" val="5"/>
  <p:tag name="KSO_WM_UNIT_FILL_TYPE" val="1"/>
  <p:tag name="KSO_WM_UNIT_TEXT_FILL_FORE_SCHEMECOLOR_INDEX" val="14"/>
  <p:tag name="KSO_WM_UNIT_TEXT_FILL_TYPE" val="1"/>
  <p:tag name="KSO_WM_UNIT_USESOURCEFORMAT_APPLY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diagram"/>
  <p:tag name="KSO_WM_TEMPLATE_INDEX" val="160484"/>
  <p:tag name="KSO_WM_UNIT_TYPE" val="m_i"/>
  <p:tag name="KSO_WM_UNIT_INDEX" val="1_7"/>
  <p:tag name="KSO_WM_UNIT_ID" val="260*m_i*1_7"/>
  <p:tag name="KSO_WM_UNIT_CLEAR" val="1"/>
  <p:tag name="KSO_WM_UNIT_LAYERLEVEL" val="1_1"/>
  <p:tag name="KSO_WM_BEAUTIFY_FLAG" val="#wm#"/>
  <p:tag name="KSO_WM_DIAGRAM_GROUP_CODE" val="m1-1"/>
  <p:tag name="KSO_WM_UNIT_FILL_FORE_SCHEMECOLOR_INDEX" val="5"/>
  <p:tag name="KSO_WM_UNIT_FILL_TYPE" val="1"/>
  <p:tag name="KSO_WM_UNIT_TEXT_FILL_FORE_SCHEMECOLOR_INDEX" val="2"/>
  <p:tag name="KSO_WM_UNIT_TEXT_FILL_TYPE" val="1"/>
  <p:tag name="KSO_WM_UNIT_USESOURCEFORMAT_APPLY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diagram"/>
  <p:tag name="KSO_WM_TEMPLATE_INDEX" val="160484"/>
  <p:tag name="KSO_WM_UNIT_TYPE" val="m_h_f"/>
  <p:tag name="KSO_WM_UNIT_INDEX" val="1_3_1"/>
  <p:tag name="KSO_WM_UNIT_ID" val="260*m_h_f*1_3_1"/>
  <p:tag name="KSO_WM_UNIT_CLEAR" val="1"/>
  <p:tag name="KSO_WM_UNIT_LAYERLEVEL" val="1_1_1"/>
  <p:tag name="KSO_WM_UNIT_VALUE" val="9"/>
  <p:tag name="KSO_WM_UNIT_HIGHLIGHT" val="0"/>
  <p:tag name="KSO_WM_UNIT_COMPATIBLE" val="0"/>
  <p:tag name="KSO_WM_BEAUTIFY_FLAG" val="#wm#"/>
  <p:tag name="KSO_WM_DIAGRAM_GROUP_CODE" val="m1-1"/>
  <p:tag name="KSO_WM_UNIT_PRESET_TEXT" val="LOREM IPSUM"/>
  <p:tag name="KSO_WM_UNIT_TEXT_FILL_FORE_SCHEMECOLOR_INDEX" val="5"/>
  <p:tag name="KSO_WM_UNIT_TEXT_FILL_TYPE" val="1"/>
  <p:tag name="KSO_WM_UNIT_USESOURCEFORMAT_APPLY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diagram"/>
  <p:tag name="KSO_WM_TEMPLATE_INDEX" val="160484"/>
  <p:tag name="KSO_WM_UNIT_TYPE" val="m_i"/>
  <p:tag name="KSO_WM_UNIT_INDEX" val="1_4"/>
  <p:tag name="KSO_WM_UNIT_ID" val="260*m_i*1_4"/>
  <p:tag name="KSO_WM_UNIT_CLEAR" val="1"/>
  <p:tag name="KSO_WM_UNIT_LAYERLEVEL" val="1_1"/>
  <p:tag name="KSO_WM_BEAUTIFY_FLAG" val="#wm#"/>
  <p:tag name="KSO_WM_DIAGRAM_GROUP_CODE" val="m1-1"/>
  <p:tag name="KSO_WM_UNIT_FILL_FORE_SCHEMECOLOR_INDEX" val="5"/>
  <p:tag name="KSO_WM_UNIT_FILL_TYPE" val="1"/>
  <p:tag name="KSO_WM_UNIT_TEXT_FILL_FORE_SCHEMECOLOR_INDEX" val="14"/>
  <p:tag name="KSO_WM_UNIT_TEXT_FILL_TYPE" val="1"/>
  <p:tag name="KSO_WM_UNIT_USESOURCEFORMAT_APPLY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diagram"/>
  <p:tag name="KSO_WM_TEMPLATE_INDEX" val="160484"/>
  <p:tag name="KSO_WM_UNIT_TYPE" val="m_i"/>
  <p:tag name="KSO_WM_UNIT_INDEX" val="1_5"/>
  <p:tag name="KSO_WM_UNIT_ID" val="260*m_i*1_5"/>
  <p:tag name="KSO_WM_UNIT_CLEAR" val="1"/>
  <p:tag name="KSO_WM_UNIT_LAYERLEVEL" val="1_1"/>
  <p:tag name="KSO_WM_BEAUTIFY_FLAG" val="#wm#"/>
  <p:tag name="KSO_WM_DIAGRAM_GROUP_CODE" val="m1-1"/>
  <p:tag name="KSO_WM_UNIT_FILL_FORE_SCHEMECOLOR_INDEX" val="5"/>
  <p:tag name="KSO_WM_UNIT_FILL_TYPE" val="1"/>
  <p:tag name="KSO_WM_UNIT_TEXT_FILL_FORE_SCHEMECOLOR_INDEX" val="2"/>
  <p:tag name="KSO_WM_UNIT_TEXT_FILL_TYPE" val="1"/>
  <p:tag name="KSO_WM_UNIT_USESOURCEFORMAT_APPLY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diagram"/>
  <p:tag name="KSO_WM_TEMPLATE_INDEX" val="160484"/>
  <p:tag name="KSO_WM_UNIT_TYPE" val="m_h_f"/>
  <p:tag name="KSO_WM_UNIT_INDEX" val="1_2_1"/>
  <p:tag name="KSO_WM_UNIT_ID" val="260*m_h_f*1_2_1"/>
  <p:tag name="KSO_WM_UNIT_CLEAR" val="1"/>
  <p:tag name="KSO_WM_UNIT_LAYERLEVEL" val="1_1_1"/>
  <p:tag name="KSO_WM_UNIT_VALUE" val="9"/>
  <p:tag name="KSO_WM_UNIT_HIGHLIGHT" val="0"/>
  <p:tag name="KSO_WM_UNIT_COMPATIBLE" val="0"/>
  <p:tag name="KSO_WM_BEAUTIFY_FLAG" val="#wm#"/>
  <p:tag name="KSO_WM_DIAGRAM_GROUP_CODE" val="m1-1"/>
  <p:tag name="KSO_WM_UNIT_PRESET_TEXT" val="LOREM IPSUM"/>
  <p:tag name="KSO_WM_UNIT_TEXT_FILL_FORE_SCHEMECOLOR_INDEX" val="5"/>
  <p:tag name="KSO_WM_UNIT_TEXT_FILL_TYPE" val="1"/>
  <p:tag name="KSO_WM_UNIT_USESOURCEFORMAT_APPLY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diagram"/>
  <p:tag name="KSO_WM_TEMPLATE_INDEX" val="160484"/>
  <p:tag name="KSO_WM_UNIT_TYPE" val="m_i"/>
  <p:tag name="KSO_WM_UNIT_INDEX" val="1_2"/>
  <p:tag name="KSO_WM_UNIT_ID" val="260*m_i*1_2"/>
  <p:tag name="KSO_WM_UNIT_CLEAR" val="1"/>
  <p:tag name="KSO_WM_UNIT_LAYERLEVEL" val="1_1"/>
  <p:tag name="KSO_WM_BEAUTIFY_FLAG" val="#wm#"/>
  <p:tag name="KSO_WM_DIAGRAM_GROUP_CODE" val="m1-1"/>
  <p:tag name="KSO_WM_UNIT_FILL_FORE_SCHEMECOLOR_INDEX" val="5"/>
  <p:tag name="KSO_WM_UNIT_FILL_TYPE" val="1"/>
  <p:tag name="KSO_WM_UNIT_TEXT_FILL_FORE_SCHEMECOLOR_INDEX" val="14"/>
  <p:tag name="KSO_WM_UNIT_TEXT_FILL_TYPE" val="1"/>
  <p:tag name="KSO_WM_UNIT_USESOURCEFORMAT_APPLY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diagram"/>
  <p:tag name="KSO_WM_TEMPLATE_INDEX" val="160484"/>
  <p:tag name="KSO_WM_UNIT_TYPE" val="m_i"/>
  <p:tag name="KSO_WM_UNIT_INDEX" val="1_3"/>
  <p:tag name="KSO_WM_UNIT_ID" val="260*m_i*1_3"/>
  <p:tag name="KSO_WM_UNIT_CLEAR" val="1"/>
  <p:tag name="KSO_WM_UNIT_LAYERLEVEL" val="1_1"/>
  <p:tag name="KSO_WM_BEAUTIFY_FLAG" val="#wm#"/>
  <p:tag name="KSO_WM_DIAGRAM_GROUP_CODE" val="m1-1"/>
  <p:tag name="KSO_WM_UNIT_FILL_FORE_SCHEMECOLOR_INDEX" val="5"/>
  <p:tag name="KSO_WM_UNIT_FILL_TYPE" val="1"/>
  <p:tag name="KSO_WM_UNIT_TEXT_FILL_FORE_SCHEMECOLOR_INDEX" val="2"/>
  <p:tag name="KSO_WM_UNIT_TEXT_FILL_TYPE" val="1"/>
  <p:tag name="KSO_WM_UNIT_USESOURCEFORMAT_APPLY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diagram"/>
  <p:tag name="KSO_WM_TEMPLATE_INDEX" val="160484"/>
  <p:tag name="KSO_WM_UNIT_TYPE" val="m_h_f"/>
  <p:tag name="KSO_WM_UNIT_INDEX" val="1_1_1"/>
  <p:tag name="KSO_WM_UNIT_ID" val="260*m_h_f*1_1_1"/>
  <p:tag name="KSO_WM_UNIT_CLEAR" val="1"/>
  <p:tag name="KSO_WM_UNIT_LAYERLEVEL" val="1_1_1"/>
  <p:tag name="KSO_WM_UNIT_VALUE" val="9"/>
  <p:tag name="KSO_WM_UNIT_HIGHLIGHT" val="0"/>
  <p:tag name="KSO_WM_UNIT_COMPATIBLE" val="0"/>
  <p:tag name="KSO_WM_BEAUTIFY_FLAG" val="#wm#"/>
  <p:tag name="KSO_WM_DIAGRAM_GROUP_CODE" val="m1-1"/>
  <p:tag name="KSO_WM_UNIT_PRESET_TEXT" val="LOREM IPSUM"/>
  <p:tag name="KSO_WM_UNIT_TEXT_FILL_FORE_SCHEMECOLOR_INDEX" val="5"/>
  <p:tag name="KSO_WM_UNIT_TEXT_FILL_TYPE" val="1"/>
  <p:tag name="KSO_WM_UNIT_USESOURCEFORMAT_APPLY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UNIT_TYPE" val="i"/>
  <p:tag name="KSO_WM_UNIT_ID" val="diagram160484_5*i*2"/>
  <p:tag name="KSO_WM_TEMPLATE_CATEGORY" val="diagram"/>
  <p:tag name="KSO_WM_TEMPLATE_INDEX" val="160484"/>
  <p:tag name="KSO_WM_UNIT_INDEX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UNIT_TYPE" val="i"/>
  <p:tag name="KSO_WM_UNIT_ID" val="diagram160484_5*i*9"/>
  <p:tag name="KSO_WM_TEMPLATE_CATEGORY" val="diagram"/>
  <p:tag name="KSO_WM_TEMPLATE_INDEX" val="160484"/>
  <p:tag name="KSO_WM_UNIT_INDEX" val="9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UNIT_TYPE" val="i"/>
  <p:tag name="KSO_WM_UNIT_ID" val="diagram160484_5*i*16"/>
  <p:tag name="KSO_WM_TEMPLATE_CATEGORY" val="diagram"/>
  <p:tag name="KSO_WM_TEMPLATE_INDEX" val="160484"/>
  <p:tag name="KSO_WM_UNIT_INDEX" val="1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UNIT_TYPE" val="i"/>
  <p:tag name="KSO_WM_UNIT_ID" val="diagram160484_5*i*2"/>
  <p:tag name="KSO_WM_TEMPLATE_CATEGORY" val="diagram"/>
  <p:tag name="KSO_WM_TEMPLATE_INDEX" val="160484"/>
  <p:tag name="KSO_WM_UNIT_INDEX" val="2"/>
</p:tagLst>
</file>

<file path=ppt/theme/theme1.xml><?xml version="1.0" encoding="utf-8"?>
<a:theme xmlns:a="http://schemas.openxmlformats.org/drawingml/2006/main" name="1_Office 主题​​">
  <a:themeElements>
    <a:clrScheme name="红黄配色">
      <a:dk1>
        <a:srgbClr val="000000"/>
      </a:dk1>
      <a:lt1>
        <a:srgbClr val="FFFFFF"/>
      </a:lt1>
      <a:dk2>
        <a:srgbClr val="7E7E7E"/>
      </a:dk2>
      <a:lt2>
        <a:srgbClr val="E7E6E6"/>
      </a:lt2>
      <a:accent1>
        <a:srgbClr val="4649EF"/>
      </a:accent1>
      <a:accent2>
        <a:srgbClr val="1BC58F"/>
      </a:accent2>
      <a:accent3>
        <a:srgbClr val="FA962D"/>
      </a:accent3>
      <a:accent4>
        <a:srgbClr val="DCE100"/>
      </a:accent4>
      <a:accent5>
        <a:srgbClr val="F02610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自定义设计方案">
  <a:themeElements>
    <a:clrScheme name="同花顺BI色卡_综合报告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D70111"/>
      </a:accent1>
      <a:accent2>
        <a:srgbClr val="014898"/>
      </a:accent2>
      <a:accent3>
        <a:srgbClr val="A90007"/>
      </a:accent3>
      <a:accent4>
        <a:srgbClr val="626262"/>
      </a:accent4>
      <a:accent5>
        <a:srgbClr val="999999"/>
      </a:accent5>
      <a:accent6>
        <a:srgbClr val="BEBEBE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28</TotalTime>
  <Words>1559</Words>
  <Application>Microsoft Macintosh PowerPoint</Application>
  <PresentationFormat>宽屏</PresentationFormat>
  <Paragraphs>315</Paragraphs>
  <Slides>18</Slides>
  <Notes>17</Notes>
  <HiddenSlides>3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31" baseType="lpstr">
      <vt:lpstr>等线</vt:lpstr>
      <vt:lpstr>黑体</vt:lpstr>
      <vt:lpstr>黑体</vt:lpstr>
      <vt:lpstr>Microsoft YaHei</vt:lpstr>
      <vt:lpstr>Microsoft YaHei</vt:lpstr>
      <vt:lpstr>字魂35号-经典雅黑</vt:lpstr>
      <vt:lpstr>字魂57号-创细黑-Regular</vt:lpstr>
      <vt:lpstr>Arial</vt:lpstr>
      <vt:lpstr>Impact</vt:lpstr>
      <vt:lpstr>Wingdings</vt:lpstr>
      <vt:lpstr>1_Office 主题​​</vt:lpstr>
      <vt:lpstr>自定义设计方案</vt:lpstr>
      <vt:lpstr>think-cell 幻灯片</vt:lpstr>
      <vt:lpstr>试用期述职</vt:lpstr>
      <vt:lpstr>PowerPoint 演示文稿</vt:lpstr>
      <vt:lpstr>自我介绍</vt:lpstr>
      <vt:lpstr>PowerPoint 演示文稿</vt:lpstr>
      <vt:lpstr>工作概述</vt:lpstr>
      <vt:lpstr>PowerPoint 演示文稿</vt:lpstr>
      <vt:lpstr>PowerPoint 演示文稿</vt:lpstr>
      <vt:lpstr>重点工作一：品牌广告数据建设</vt:lpstr>
      <vt:lpstr>重点工作二：运维数据体系建设</vt:lpstr>
      <vt:lpstr>重点工作三：经营分析</vt:lpstr>
      <vt:lpstr>其他工作内容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黄文武</dc:creator>
  <cp:lastModifiedBy>黄文武</cp:lastModifiedBy>
  <cp:revision>148</cp:revision>
  <dcterms:created xsi:type="dcterms:W3CDTF">2025-12-22T02:24:51Z</dcterms:created>
  <dcterms:modified xsi:type="dcterms:W3CDTF">2026-01-25T13:15:42Z</dcterms:modified>
</cp:coreProperties>
</file>